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3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88.xml" ContentType="application/vnd.openxmlformats-officedocument.presentationml.tags+xml"/>
  <Override PartName="/ppt/notesSlides/notesSlide3.xml" ContentType="application/vnd.openxmlformats-officedocument.presentationml.notesSlide+xml"/>
  <Override PartName="/ppt/tags/tag89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90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1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93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ags/tag94.xml" ContentType="application/vnd.openxmlformats-officedocument.presentationml.tags+xml"/>
  <Override PartName="/ppt/notesSlides/notesSlide6.xml" ContentType="application/vnd.openxmlformats-officedocument.presentationml.notesSlide+xml"/>
  <Override PartName="/ppt/tags/tag95.xml" ContentType="application/vnd.openxmlformats-officedocument.presentationml.tags+xml"/>
  <Override PartName="/ppt/notesSlides/notesSlide7.xml" ContentType="application/vnd.openxmlformats-officedocument.presentationml.notesSlide+xml"/>
  <Override PartName="/ppt/tags/tag96.xml" ContentType="application/vnd.openxmlformats-officedocument.presentationml.tags+xml"/>
  <Override PartName="/ppt/notesSlides/notesSlide8.xml" ContentType="application/vnd.openxmlformats-officedocument.presentationml.notesSlide+xml"/>
  <Override PartName="/ppt/tags/tag97.xml" ContentType="application/vnd.openxmlformats-officedocument.presentationml.tags+xml"/>
  <Override PartName="/ppt/notesSlides/notesSlide9.xml" ContentType="application/vnd.openxmlformats-officedocument.presentationml.notesSlide+xml"/>
  <Override PartName="/ppt/tags/tag98.xml" ContentType="application/vnd.openxmlformats-officedocument.presentationml.tags+xml"/>
  <Override PartName="/ppt/notesSlides/notesSlide10.xml" ContentType="application/vnd.openxmlformats-officedocument.presentationml.notesSlide+xml"/>
  <Override PartName="/ppt/tags/tag99.xml" ContentType="application/vnd.openxmlformats-officedocument.presentationml.tags+xml"/>
  <Override PartName="/ppt/notesSlides/notesSlide11.xml" ContentType="application/vnd.openxmlformats-officedocument.presentationml.notesSlide+xml"/>
  <Override PartName="/ppt/tags/tag100.xml" ContentType="application/vnd.openxmlformats-officedocument.presentationml.tags+xml"/>
  <Override PartName="/ppt/notesSlides/notesSlide12.xml" ContentType="application/vnd.openxmlformats-officedocument.presentationml.notesSlide+xml"/>
  <Override PartName="/ppt/tags/tag101.xml" ContentType="application/vnd.openxmlformats-officedocument.presentationml.tags+xml"/>
  <Override PartName="/ppt/notesSlides/notesSlide13.xml" ContentType="application/vnd.openxmlformats-officedocument.presentationml.notesSlide+xml"/>
  <Override PartName="/ppt/tags/tag102.xml" ContentType="application/vnd.openxmlformats-officedocument.presentationml.tags+xml"/>
  <Override PartName="/ppt/notesSlides/notesSlide14.xml" ContentType="application/vnd.openxmlformats-officedocument.presentationml.notesSlide+xml"/>
  <Override PartName="/ppt/tags/tag103.xml" ContentType="application/vnd.openxmlformats-officedocument.presentationml.tags+xml"/>
  <Override PartName="/ppt/notesSlides/notesSlide15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1"/>
    <p:sldMasterId id="2147483817" r:id="rId2"/>
  </p:sldMasterIdLst>
  <p:notesMasterIdLst>
    <p:notesMasterId r:id="rId32"/>
  </p:notesMasterIdLst>
  <p:sldIdLst>
    <p:sldId id="383" r:id="rId3"/>
    <p:sldId id="459" r:id="rId4"/>
    <p:sldId id="441" r:id="rId5"/>
    <p:sldId id="460" r:id="rId6"/>
    <p:sldId id="461" r:id="rId7"/>
    <p:sldId id="442" r:id="rId8"/>
    <p:sldId id="443" r:id="rId9"/>
    <p:sldId id="444" r:id="rId10"/>
    <p:sldId id="465" r:id="rId11"/>
    <p:sldId id="445" r:id="rId12"/>
    <p:sldId id="469" r:id="rId13"/>
    <p:sldId id="470" r:id="rId14"/>
    <p:sldId id="466" r:id="rId15"/>
    <p:sldId id="462" r:id="rId16"/>
    <p:sldId id="463" r:id="rId17"/>
    <p:sldId id="448" r:id="rId18"/>
    <p:sldId id="453" r:id="rId19"/>
    <p:sldId id="464" r:id="rId20"/>
    <p:sldId id="454" r:id="rId21"/>
    <p:sldId id="449" r:id="rId22"/>
    <p:sldId id="452" r:id="rId23"/>
    <p:sldId id="451" r:id="rId24"/>
    <p:sldId id="455" r:id="rId25"/>
    <p:sldId id="456" r:id="rId26"/>
    <p:sldId id="450" r:id="rId27"/>
    <p:sldId id="457" r:id="rId28"/>
    <p:sldId id="458" r:id="rId29"/>
    <p:sldId id="467" r:id="rId30"/>
    <p:sldId id="468" r:id="rId31"/>
  </p:sldIdLst>
  <p:sldSz cx="9144000" cy="5143500" type="screen16x9"/>
  <p:notesSz cx="6797675" cy="9926638"/>
  <p:custDataLst>
    <p:tags r:id="rId3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INISTÈRIEL" id="{0B896E98-F45E-4768-8620-EDDF394BE181}">
          <p14:sldIdLst>
            <p14:sldId id="383"/>
            <p14:sldId id="459"/>
            <p14:sldId id="441"/>
            <p14:sldId id="460"/>
            <p14:sldId id="461"/>
            <p14:sldId id="442"/>
            <p14:sldId id="443"/>
            <p14:sldId id="444"/>
            <p14:sldId id="465"/>
            <p14:sldId id="445"/>
            <p14:sldId id="469"/>
            <p14:sldId id="470"/>
            <p14:sldId id="466"/>
            <p14:sldId id="462"/>
            <p14:sldId id="463"/>
            <p14:sldId id="448"/>
            <p14:sldId id="453"/>
            <p14:sldId id="464"/>
            <p14:sldId id="454"/>
            <p14:sldId id="449"/>
            <p14:sldId id="452"/>
            <p14:sldId id="451"/>
            <p14:sldId id="455"/>
            <p14:sldId id="456"/>
            <p14:sldId id="450"/>
            <p14:sldId id="457"/>
            <p14:sldId id="458"/>
            <p14:sldId id="467"/>
            <p14:sldId id="4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72" userDrawn="1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465">
          <p15:clr>
            <a:srgbClr val="A4A3A4"/>
          </p15:clr>
        </p15:guide>
        <p15:guide id="11" orient="horz" pos="1575">
          <p15:clr>
            <a:srgbClr val="A4A3A4"/>
          </p15:clr>
        </p15:guide>
        <p15:guide id="12" orient="horz" pos="849">
          <p15:clr>
            <a:srgbClr val="A4A3A4"/>
          </p15:clr>
        </p15:guide>
        <p15:guide id="13" orient="horz" pos="8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E0FE"/>
    <a:srgbClr val="6EAA89"/>
    <a:srgbClr val="9E29A7"/>
    <a:srgbClr val="99CC00"/>
    <a:srgbClr val="F8A6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8603FDC-E32A-4AB5-989C-0864C3EAD2B8}" styleName="Style à thème 2 - Accentuation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6090" autoAdjust="0"/>
    <p:restoredTop sz="94343" autoAdjust="0"/>
  </p:normalViewPr>
  <p:slideViewPr>
    <p:cSldViewPr showGuides="1">
      <p:cViewPr varScale="1">
        <p:scale>
          <a:sx n="83" d="100"/>
          <a:sy n="83" d="100"/>
        </p:scale>
        <p:origin x="400" y="52"/>
      </p:cViewPr>
      <p:guideLst>
        <p:guide orient="horz" pos="1620"/>
        <p:guide orient="horz" pos="191"/>
        <p:guide orient="horz" pos="854"/>
        <p:guide orient="horz" pos="821"/>
        <p:guide orient="horz" pos="3072"/>
        <p:guide orient="horz" pos="3151"/>
        <p:guide pos="2880"/>
        <p:guide pos="476"/>
        <p:guide pos="5193"/>
        <p:guide pos="5465"/>
        <p:guide orient="horz" pos="1575"/>
        <p:guide orient="horz" pos="849"/>
        <p:guide orient="horz" pos="8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viewProps" Target="view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Nombre de formations partagées</c:v>
                </c:pt>
              </c:strCache>
            </c:strRef>
          </c:tx>
          <c:spPr>
            <a:gradFill>
              <a:gsLst>
                <a:gs pos="0">
                  <a:srgbClr val="03D4A8"/>
                </a:gs>
                <a:gs pos="33000">
                  <a:srgbClr val="21D6E0"/>
                </a:gs>
                <a:gs pos="75000">
                  <a:srgbClr val="0087E6"/>
                </a:gs>
                <a:gs pos="100000">
                  <a:srgbClr val="005CBF"/>
                </a:gs>
              </a:gsLst>
              <a:lin ang="5400000" scaled="0"/>
            </a:gradFill>
          </c:spPr>
          <c:invertIfNegative val="0"/>
          <c:dLbls>
            <c:dLbl>
              <c:idx val="0"/>
              <c:layout>
                <c:manualLayout>
                  <c:x val="1.9240286432820594E-2"/>
                  <c:y val="-5.18509306158546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41F-40E5-A211-7B8898EFA648}"/>
                </c:ext>
              </c:extLst>
            </c:dLbl>
            <c:dLbl>
              <c:idx val="1"/>
              <c:layout>
                <c:manualLayout>
                  <c:x val="1.4430214824615447E-2"/>
                  <c:y val="-5.98279968644476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41F-40E5-A211-7B8898EFA648}"/>
                </c:ext>
              </c:extLst>
            </c:dLbl>
            <c:dLbl>
              <c:idx val="2"/>
              <c:layout>
                <c:manualLayout>
                  <c:x val="8.0167860136752481E-3"/>
                  <c:y val="-4.786239749155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1F-40E5-A211-7B8898EFA648}"/>
                </c:ext>
              </c:extLst>
            </c:dLbl>
            <c:dLbl>
              <c:idx val="3"/>
              <c:layout>
                <c:manualLayout>
                  <c:x val="1.2826857621880397E-2"/>
                  <c:y val="-4.78623974915581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1F-40E5-A211-7B8898EFA64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euil1!$A$2:$A$5</c:f>
              <c:strCache>
                <c:ptCount val="4"/>
                <c:pt idx="0">
                  <c:v>DGAFP</c:v>
                </c:pt>
                <c:pt idx="1">
                  <c:v>DINUM</c:v>
                </c:pt>
                <c:pt idx="2">
                  <c:v>MSO</c:v>
                </c:pt>
                <c:pt idx="3">
                  <c:v>MTECTM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27</c:v>
                </c:pt>
                <c:pt idx="1">
                  <c:v>11</c:v>
                </c:pt>
                <c:pt idx="2">
                  <c:v>10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1F-40E5-A211-7B8898EFA6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cylinder"/>
        <c:axId val="164475648"/>
        <c:axId val="164477184"/>
        <c:axId val="0"/>
      </c:bar3DChart>
      <c:catAx>
        <c:axId val="1644756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64477184"/>
        <c:crosses val="autoZero"/>
        <c:auto val="1"/>
        <c:lblAlgn val="ctr"/>
        <c:lblOffset val="100"/>
        <c:noMultiLvlLbl val="0"/>
      </c:catAx>
      <c:valAx>
        <c:axId val="1644771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aseline="0"/>
            </a:pPr>
            <a:endParaRPr lang="fr-FR"/>
          </a:p>
        </c:txPr>
        <c:crossAx val="164475648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Strategie_Editoriale_Mentor.pdf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Strategie_Editoriale_Mentor.pdf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C1CB05-7A10-44D6-BCEF-0AA6DF190C9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AB79AB5-1C5B-492F-B4A0-6169EB5A442C}">
      <dgm:prSet phldrT="[Texte]" custT="1"/>
      <dgm:spPr>
        <a:solidFill>
          <a:schemeClr val="accent1">
            <a:lumMod val="25000"/>
            <a:lumOff val="75000"/>
          </a:schemeClr>
        </a:solidFill>
        <a:ln>
          <a:solidFill>
            <a:schemeClr val="accent1">
              <a:lumMod val="10000"/>
              <a:lumOff val="90000"/>
            </a:schemeClr>
          </a:solidFill>
        </a:ln>
      </dgm:spPr>
      <dgm:t>
        <a:bodyPr/>
        <a:lstStyle/>
        <a:p>
          <a:r>
            <a:rPr lang="fr-FR" sz="1600" dirty="0">
              <a:solidFill>
                <a:schemeClr val="tx1"/>
              </a:solidFill>
            </a:rPr>
            <a:t>Enjeu : </a:t>
          </a:r>
          <a:r>
            <a:rPr lang="fr-FR" sz="1600" i="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Une comitologie qui garantisse fluidité de l’information, impulsion et suivi des projets</a:t>
          </a:r>
          <a:r>
            <a:rPr lang="fr-FR" sz="1600" i="0" dirty="0">
              <a:solidFill>
                <a:schemeClr val="tx1"/>
              </a:solidFill>
            </a:rPr>
            <a:t> </a:t>
          </a:r>
        </a:p>
      </dgm:t>
    </dgm:pt>
    <dgm:pt modelId="{67E60158-BD0E-4E6A-BD08-2790F6621FEA}" type="parTrans" cxnId="{8BDB5775-678C-4838-B50A-89517755C5BC}">
      <dgm:prSet/>
      <dgm:spPr/>
      <dgm:t>
        <a:bodyPr/>
        <a:lstStyle/>
        <a:p>
          <a:endParaRPr lang="fr-FR"/>
        </a:p>
      </dgm:t>
    </dgm:pt>
    <dgm:pt modelId="{0FAA0CD6-D549-428C-8E2F-4EA411EC8D0A}" type="sibTrans" cxnId="{8BDB5775-678C-4838-B50A-89517755C5BC}">
      <dgm:prSet/>
      <dgm:spPr/>
      <dgm:t>
        <a:bodyPr/>
        <a:lstStyle/>
        <a:p>
          <a:endParaRPr lang="fr-FR"/>
        </a:p>
      </dgm:t>
    </dgm:pt>
    <dgm:pt modelId="{9EA08A19-689E-4B8B-B01C-FC265BEB887F}">
      <dgm:prSet phldrT="[Texte]" custT="1"/>
      <dgm:spPr/>
      <dgm:t>
        <a:bodyPr/>
        <a:lstStyle/>
        <a:p>
          <a:r>
            <a:rPr lang="fr-FR" sz="1200" i="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Faire vivre une communauté pour partager de l’information et construire ensemble des projets</a:t>
          </a:r>
          <a:endParaRPr lang="fr-FR" sz="1200" i="0" dirty="0"/>
        </a:p>
      </dgm:t>
    </dgm:pt>
    <dgm:pt modelId="{8D4F0531-9A3B-4A5C-899B-9E5F6EA7641F}" type="parTrans" cxnId="{BCA27461-64E3-4668-8F9D-ED12E49BFFED}">
      <dgm:prSet/>
      <dgm:spPr/>
      <dgm:t>
        <a:bodyPr/>
        <a:lstStyle/>
        <a:p>
          <a:endParaRPr lang="fr-FR"/>
        </a:p>
      </dgm:t>
    </dgm:pt>
    <dgm:pt modelId="{4805E245-D961-4B4E-9DC8-8B1E80D0E05D}" type="sibTrans" cxnId="{BCA27461-64E3-4668-8F9D-ED12E49BFFED}">
      <dgm:prSet/>
      <dgm:spPr/>
      <dgm:t>
        <a:bodyPr/>
        <a:lstStyle/>
        <a:p>
          <a:endParaRPr lang="fr-FR"/>
        </a:p>
      </dgm:t>
    </dgm:pt>
    <dgm:pt modelId="{88745221-073C-41FE-956A-C6D737774B46}">
      <dgm:prSet phldrT="[Texte]" custT="1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fr-FR" sz="1600" dirty="0">
              <a:solidFill>
                <a:schemeClr val="tx1"/>
              </a:solidFill>
            </a:rPr>
            <a:t>Objectifs : pourquoi faire vivre ce comité ministériel ?</a:t>
          </a:r>
        </a:p>
      </dgm:t>
    </dgm:pt>
    <dgm:pt modelId="{20BF0AD4-3FF6-487D-9CE2-6E207F8CACC1}" type="parTrans" cxnId="{B9CDD200-2DB2-47A4-A965-4AF896F161F1}">
      <dgm:prSet/>
      <dgm:spPr/>
      <dgm:t>
        <a:bodyPr/>
        <a:lstStyle/>
        <a:p>
          <a:endParaRPr lang="fr-FR"/>
        </a:p>
      </dgm:t>
    </dgm:pt>
    <dgm:pt modelId="{D3C481F7-8177-49A5-9699-753B2155A529}" type="sibTrans" cxnId="{B9CDD200-2DB2-47A4-A965-4AF896F161F1}">
      <dgm:prSet/>
      <dgm:spPr/>
      <dgm:t>
        <a:bodyPr/>
        <a:lstStyle/>
        <a:p>
          <a:endParaRPr lang="fr-FR"/>
        </a:p>
      </dgm:t>
    </dgm:pt>
    <dgm:pt modelId="{B2D6EBF5-72F5-4D40-A01F-B2555694AAE9}">
      <dgm:prSet phldrT="[Texte]" custT="1"/>
      <dgm:spPr/>
      <dgm:t>
        <a:bodyPr/>
        <a:lstStyle/>
        <a:p>
          <a:r>
            <a:rPr lang="fr-FR" altLang="en-US" sz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S’assurer du respect des principes collectifs de fonctionnement du COMIN Mentor</a:t>
          </a:r>
          <a:endParaRPr lang="fr-FR" sz="1200" dirty="0"/>
        </a:p>
      </dgm:t>
    </dgm:pt>
    <dgm:pt modelId="{0C6CD436-24C7-4EDB-8A47-EA847CEED5F1}" type="parTrans" cxnId="{13F0A3E9-7451-4CA5-928F-9DC7C2D241AE}">
      <dgm:prSet/>
      <dgm:spPr/>
      <dgm:t>
        <a:bodyPr/>
        <a:lstStyle/>
        <a:p>
          <a:endParaRPr lang="fr-FR"/>
        </a:p>
      </dgm:t>
    </dgm:pt>
    <dgm:pt modelId="{6734C7C9-4DA3-487F-90C5-90E34A2B4D08}" type="sibTrans" cxnId="{13F0A3E9-7451-4CA5-928F-9DC7C2D241AE}">
      <dgm:prSet/>
      <dgm:spPr/>
      <dgm:t>
        <a:bodyPr/>
        <a:lstStyle/>
        <a:p>
          <a:endParaRPr lang="fr-FR"/>
        </a:p>
      </dgm:t>
    </dgm:pt>
    <dgm:pt modelId="{07B38B2F-D695-4050-89E5-A04810BC1DF7}">
      <dgm:prSet phldrT="[Texte]" custT="1"/>
      <dgm:spPr/>
      <dgm:t>
        <a:bodyPr/>
        <a:lstStyle/>
        <a:p>
          <a:r>
            <a:rPr lang="fr-FR" sz="1200" i="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Organiser si nécessaire des travaux de groupe pour produire des outils au service de la communauté </a:t>
          </a:r>
        </a:p>
      </dgm:t>
    </dgm:pt>
    <dgm:pt modelId="{8A051B72-B05E-495E-8008-A7B7BA25F3F3}" type="parTrans" cxnId="{BF3C686A-9BBC-424B-918A-6C0A28CBFE04}">
      <dgm:prSet/>
      <dgm:spPr/>
      <dgm:t>
        <a:bodyPr/>
        <a:lstStyle/>
        <a:p>
          <a:endParaRPr lang="fr-FR"/>
        </a:p>
      </dgm:t>
    </dgm:pt>
    <dgm:pt modelId="{F99656C9-76CD-4ECA-B5EC-30B285B003B1}" type="sibTrans" cxnId="{BF3C686A-9BBC-424B-918A-6C0A28CBFE04}">
      <dgm:prSet/>
      <dgm:spPr/>
      <dgm:t>
        <a:bodyPr/>
        <a:lstStyle/>
        <a:p>
          <a:endParaRPr lang="fr-FR"/>
        </a:p>
      </dgm:t>
    </dgm:pt>
    <dgm:pt modelId="{390D1B75-C557-4265-B933-5A04C4F77896}">
      <dgm:prSet phldrT="[Texte]" custT="1"/>
      <dgm:spPr/>
      <dgm:t>
        <a:bodyPr/>
        <a:lstStyle/>
        <a:p>
          <a:r>
            <a:rPr lang="fr-FR" altLang="en-US" sz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Définir puis suivre la stratégie éditoriale du pôle </a:t>
          </a:r>
          <a:r>
            <a:rPr lang="fr-FR" altLang="en-US" sz="1200" dirty="0">
              <a:latin typeface="Arial" charset="0"/>
              <a:ea typeface="Arial Narrow" pitchFamily="34" charset="0"/>
              <a:cs typeface="Arial Narrow" pitchFamily="34" charset="0"/>
            </a:rPr>
            <a:t>ministériel en cohérence avec la </a:t>
          </a:r>
          <a:r>
            <a:rPr lang="fr-FR" altLang="en-US" sz="1200" u="sng" dirty="0">
              <a:latin typeface="Arial" charset="0"/>
              <a:ea typeface="Arial Narrow" pitchFamily="34" charset="0"/>
              <a:cs typeface="Arial Narrow" pitchFamily="34" charset="0"/>
              <a:hlinkClick xmlns:r="http://schemas.openxmlformats.org/officeDocument/2006/relationships" r:id="rId1" action="ppaction://hlinkfile"/>
            </a:rPr>
            <a:t>stratégie éditoriale Mentor</a:t>
          </a:r>
          <a:r>
            <a:rPr lang="fr-FR" altLang="en-US" sz="1200" u="sng" dirty="0">
              <a:latin typeface="Arial" charset="0"/>
              <a:ea typeface="Arial Narrow" pitchFamily="34" charset="0"/>
              <a:cs typeface="Arial Narrow" pitchFamily="34" charset="0"/>
            </a:rPr>
            <a:t> </a:t>
          </a:r>
          <a:r>
            <a:rPr lang="fr-FR" altLang="en-US" sz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: ligne éditoriale, qualité, pertinence…</a:t>
          </a:r>
          <a:endParaRPr lang="fr-FR" sz="1200" dirty="0"/>
        </a:p>
      </dgm:t>
    </dgm:pt>
    <dgm:pt modelId="{32CD0060-40C2-4980-BE57-2A25B33A0ADC}" type="parTrans" cxnId="{FECBCFD5-E45F-479B-8B44-A753F2601237}">
      <dgm:prSet/>
      <dgm:spPr/>
      <dgm:t>
        <a:bodyPr/>
        <a:lstStyle/>
        <a:p>
          <a:endParaRPr lang="fr-FR"/>
        </a:p>
      </dgm:t>
    </dgm:pt>
    <dgm:pt modelId="{D244CBDB-0B2D-496E-87F7-BEDE197F39EA}" type="sibTrans" cxnId="{FECBCFD5-E45F-479B-8B44-A753F2601237}">
      <dgm:prSet/>
      <dgm:spPr/>
      <dgm:t>
        <a:bodyPr/>
        <a:lstStyle/>
        <a:p>
          <a:endParaRPr lang="fr-FR"/>
        </a:p>
      </dgm:t>
    </dgm:pt>
    <dgm:pt modelId="{C1E919AA-9105-4F1C-8AEA-FCD7E8152D1F}">
      <dgm:prSet phldrT="[Texte]" custT="1"/>
      <dgm:spPr/>
      <dgm:t>
        <a:bodyPr/>
        <a:lstStyle/>
        <a:p>
          <a:r>
            <a:rPr lang="fr-FR" altLang="en-US" sz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Identifier et proposer les modalités de contribution des acteurs de la communauté du pôle ministériel (nouveaux projets, actualisation des FOAD…), s’assurer de l’efficacité de nos outils de fonctionnement</a:t>
          </a:r>
          <a:endParaRPr lang="fr-FR" sz="1200" dirty="0"/>
        </a:p>
      </dgm:t>
    </dgm:pt>
    <dgm:pt modelId="{D555C866-8BDA-4CE0-9156-FE4C6EF84F7E}" type="parTrans" cxnId="{F6E04775-2D9E-47DA-8BDE-F0027CBA3D20}">
      <dgm:prSet/>
      <dgm:spPr/>
      <dgm:t>
        <a:bodyPr/>
        <a:lstStyle/>
        <a:p>
          <a:endParaRPr lang="fr-FR"/>
        </a:p>
      </dgm:t>
    </dgm:pt>
    <dgm:pt modelId="{FA05F6D7-C0A7-4BF8-BF42-6AFE6E619969}" type="sibTrans" cxnId="{F6E04775-2D9E-47DA-8BDE-F0027CBA3D20}">
      <dgm:prSet/>
      <dgm:spPr/>
      <dgm:t>
        <a:bodyPr/>
        <a:lstStyle/>
        <a:p>
          <a:endParaRPr lang="fr-FR"/>
        </a:p>
      </dgm:t>
    </dgm:pt>
    <dgm:pt modelId="{C56BA45A-A2E8-4C4E-9A03-B444048DF688}">
      <dgm:prSet phldrT="[Texte]" custT="1"/>
      <dgm:spPr/>
      <dgm:t>
        <a:bodyPr/>
        <a:lstStyle/>
        <a:p>
          <a:r>
            <a:rPr lang="fr-FR" altLang="en-US" sz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Partager les évolutions et informations sur le programme Mentor</a:t>
          </a:r>
          <a:endParaRPr lang="fr-FR" sz="1200" dirty="0"/>
        </a:p>
      </dgm:t>
    </dgm:pt>
    <dgm:pt modelId="{4CD15EE3-11AD-43A8-8217-4F5B56E2A713}" type="parTrans" cxnId="{1D497BCF-994F-4D6E-8F86-005825EC2E3D}">
      <dgm:prSet/>
      <dgm:spPr/>
      <dgm:t>
        <a:bodyPr/>
        <a:lstStyle/>
        <a:p>
          <a:endParaRPr lang="fr-FR"/>
        </a:p>
      </dgm:t>
    </dgm:pt>
    <dgm:pt modelId="{CDDC1BD9-8D19-4651-9FFB-387B5230052C}" type="sibTrans" cxnId="{1D497BCF-994F-4D6E-8F86-005825EC2E3D}">
      <dgm:prSet/>
      <dgm:spPr/>
      <dgm:t>
        <a:bodyPr/>
        <a:lstStyle/>
        <a:p>
          <a:endParaRPr lang="fr-FR"/>
        </a:p>
      </dgm:t>
    </dgm:pt>
    <dgm:pt modelId="{616CDA3B-08D1-4425-951A-590DDDC589CD}">
      <dgm:prSet phldrT="[Texte]" custT="1"/>
      <dgm:spPr/>
      <dgm:t>
        <a:bodyPr/>
        <a:lstStyle/>
        <a:p>
          <a:r>
            <a:rPr lang="fr-FR" sz="1200" dirty="0">
              <a:solidFill>
                <a:schemeClr val="tx2">
                  <a:lumMod val="60000"/>
                  <a:lumOff val="40000"/>
                </a:schemeClr>
              </a:solidFill>
            </a:rPr>
            <a:t>Présenter un suivi statistique sur la base des données qu’il est possible de recueillir en l’état actuel et recueillir les demandes d’évolution du </a:t>
          </a:r>
          <a:r>
            <a:rPr lang="fr-FR" sz="1200" dirty="0" err="1">
              <a:solidFill>
                <a:schemeClr val="tx2">
                  <a:lumMod val="60000"/>
                  <a:lumOff val="40000"/>
                </a:schemeClr>
              </a:solidFill>
            </a:rPr>
            <a:t>reporting</a:t>
          </a:r>
          <a:r>
            <a:rPr lang="fr-FR" sz="1200" dirty="0">
              <a:solidFill>
                <a:schemeClr val="tx2">
                  <a:lumMod val="60000"/>
                  <a:lumOff val="40000"/>
                </a:schemeClr>
              </a:solidFill>
            </a:rPr>
            <a:t> pour que les administrateurs puissent faire remonter les besoins</a:t>
          </a:r>
        </a:p>
      </dgm:t>
    </dgm:pt>
    <dgm:pt modelId="{B0D0D691-0647-4CC6-9C2D-BA38DC4F9CE6}" type="parTrans" cxnId="{D2502586-38B2-4ABE-B8DB-537407F3AE9A}">
      <dgm:prSet/>
      <dgm:spPr/>
      <dgm:t>
        <a:bodyPr/>
        <a:lstStyle/>
        <a:p>
          <a:endParaRPr lang="fr-FR"/>
        </a:p>
      </dgm:t>
    </dgm:pt>
    <dgm:pt modelId="{CDEE743A-0211-43D8-A575-6D1FC94E50A4}" type="sibTrans" cxnId="{D2502586-38B2-4ABE-B8DB-537407F3AE9A}">
      <dgm:prSet/>
      <dgm:spPr/>
      <dgm:t>
        <a:bodyPr/>
        <a:lstStyle/>
        <a:p>
          <a:endParaRPr lang="fr-FR"/>
        </a:p>
      </dgm:t>
    </dgm:pt>
    <dgm:pt modelId="{B5C92415-99A4-4C89-8BE1-E41F29FC5457}" type="pres">
      <dgm:prSet presAssocID="{62C1CB05-7A10-44D6-BCEF-0AA6DF190C9F}" presName="linear" presStyleCnt="0">
        <dgm:presLayoutVars>
          <dgm:animLvl val="lvl"/>
          <dgm:resizeHandles val="exact"/>
        </dgm:presLayoutVars>
      </dgm:prSet>
      <dgm:spPr/>
    </dgm:pt>
    <dgm:pt modelId="{8764EE5F-D2C0-469D-AFAB-DFA92310E5FA}" type="pres">
      <dgm:prSet presAssocID="{AAB79AB5-1C5B-492F-B4A0-6169EB5A442C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9011C8FC-2747-4CA5-9701-87FA19B5CE8D}" type="pres">
      <dgm:prSet presAssocID="{AAB79AB5-1C5B-492F-B4A0-6169EB5A442C}" presName="childText" presStyleLbl="revTx" presStyleIdx="0" presStyleCnt="2">
        <dgm:presLayoutVars>
          <dgm:bulletEnabled val="1"/>
        </dgm:presLayoutVars>
      </dgm:prSet>
      <dgm:spPr/>
    </dgm:pt>
    <dgm:pt modelId="{FDCEC038-C982-4B6C-B1E0-2B5D611EA7E8}" type="pres">
      <dgm:prSet presAssocID="{88745221-073C-41FE-956A-C6D737774B46}" presName="parentText" presStyleLbl="node1" presStyleIdx="1" presStyleCnt="2" custLinFactNeighborX="234" custLinFactNeighborY="-1905">
        <dgm:presLayoutVars>
          <dgm:chMax val="0"/>
          <dgm:bulletEnabled val="1"/>
        </dgm:presLayoutVars>
      </dgm:prSet>
      <dgm:spPr/>
    </dgm:pt>
    <dgm:pt modelId="{BC6B3BC3-AC35-4289-91A5-1B0BAD0CE74F}" type="pres">
      <dgm:prSet presAssocID="{88745221-073C-41FE-956A-C6D737774B46}" presName="childText" presStyleLbl="revTx" presStyleIdx="1" presStyleCnt="2">
        <dgm:presLayoutVars>
          <dgm:bulletEnabled val="1"/>
        </dgm:presLayoutVars>
      </dgm:prSet>
      <dgm:spPr/>
    </dgm:pt>
  </dgm:ptLst>
  <dgm:cxnLst>
    <dgm:cxn modelId="{B9CDD200-2DB2-47A4-A965-4AF896F161F1}" srcId="{62C1CB05-7A10-44D6-BCEF-0AA6DF190C9F}" destId="{88745221-073C-41FE-956A-C6D737774B46}" srcOrd="1" destOrd="0" parTransId="{20BF0AD4-3FF6-487D-9CE2-6E207F8CACC1}" sibTransId="{D3C481F7-8177-49A5-9699-753B2155A529}"/>
    <dgm:cxn modelId="{EE7DAA15-07AE-4CD0-8C81-A1140EF93375}" type="presOf" srcId="{B2D6EBF5-72F5-4D40-A01F-B2555694AAE9}" destId="{BC6B3BC3-AC35-4289-91A5-1B0BAD0CE74F}" srcOrd="0" destOrd="0" presId="urn:microsoft.com/office/officeart/2005/8/layout/vList2"/>
    <dgm:cxn modelId="{BCA27461-64E3-4668-8F9D-ED12E49BFFED}" srcId="{AAB79AB5-1C5B-492F-B4A0-6169EB5A442C}" destId="{9EA08A19-689E-4B8B-B01C-FC265BEB887F}" srcOrd="0" destOrd="0" parTransId="{8D4F0531-9A3B-4A5C-899B-9E5F6EA7641F}" sibTransId="{4805E245-D961-4B4E-9DC8-8B1E80D0E05D}"/>
    <dgm:cxn modelId="{F0F7CC65-50D5-403F-813F-BDD28B1443CD}" type="presOf" srcId="{9EA08A19-689E-4B8B-B01C-FC265BEB887F}" destId="{9011C8FC-2747-4CA5-9701-87FA19B5CE8D}" srcOrd="0" destOrd="0" presId="urn:microsoft.com/office/officeart/2005/8/layout/vList2"/>
    <dgm:cxn modelId="{BF3C686A-9BBC-424B-918A-6C0A28CBFE04}" srcId="{AAB79AB5-1C5B-492F-B4A0-6169EB5A442C}" destId="{07B38B2F-D695-4050-89E5-A04810BC1DF7}" srcOrd="1" destOrd="0" parTransId="{8A051B72-B05E-495E-8008-A7B7BA25F3F3}" sibTransId="{F99656C9-76CD-4ECA-B5EC-30B285B003B1}"/>
    <dgm:cxn modelId="{1C7DD56C-D18A-4E11-B704-4DE1947DFE70}" type="presOf" srcId="{07B38B2F-D695-4050-89E5-A04810BC1DF7}" destId="{9011C8FC-2747-4CA5-9701-87FA19B5CE8D}" srcOrd="0" destOrd="1" presId="urn:microsoft.com/office/officeart/2005/8/layout/vList2"/>
    <dgm:cxn modelId="{F6E04775-2D9E-47DA-8BDE-F0027CBA3D20}" srcId="{88745221-073C-41FE-956A-C6D737774B46}" destId="{C1E919AA-9105-4F1C-8AEA-FCD7E8152D1F}" srcOrd="2" destOrd="0" parTransId="{D555C866-8BDA-4CE0-9156-FE4C6EF84F7E}" sibTransId="{FA05F6D7-C0A7-4BF8-BF42-6AFE6E619969}"/>
    <dgm:cxn modelId="{8BDB5775-678C-4838-B50A-89517755C5BC}" srcId="{62C1CB05-7A10-44D6-BCEF-0AA6DF190C9F}" destId="{AAB79AB5-1C5B-492F-B4A0-6169EB5A442C}" srcOrd="0" destOrd="0" parTransId="{67E60158-BD0E-4E6A-BD08-2790F6621FEA}" sibTransId="{0FAA0CD6-D549-428C-8E2F-4EA411EC8D0A}"/>
    <dgm:cxn modelId="{7545D455-C948-41B2-8119-0F6941907DBA}" type="presOf" srcId="{390D1B75-C557-4265-B933-5A04C4F77896}" destId="{BC6B3BC3-AC35-4289-91A5-1B0BAD0CE74F}" srcOrd="0" destOrd="1" presId="urn:microsoft.com/office/officeart/2005/8/layout/vList2"/>
    <dgm:cxn modelId="{9EE1F877-2EEC-45BD-A7A3-8A0BC8D1F0B5}" type="presOf" srcId="{C1E919AA-9105-4F1C-8AEA-FCD7E8152D1F}" destId="{BC6B3BC3-AC35-4289-91A5-1B0BAD0CE74F}" srcOrd="0" destOrd="2" presId="urn:microsoft.com/office/officeart/2005/8/layout/vList2"/>
    <dgm:cxn modelId="{D2502586-38B2-4ABE-B8DB-537407F3AE9A}" srcId="{88745221-073C-41FE-956A-C6D737774B46}" destId="{616CDA3B-08D1-4425-951A-590DDDC589CD}" srcOrd="4" destOrd="0" parTransId="{B0D0D691-0647-4CC6-9C2D-BA38DC4F9CE6}" sibTransId="{CDEE743A-0211-43D8-A575-6D1FC94E50A4}"/>
    <dgm:cxn modelId="{CBB74C86-493A-4690-B51A-431C3919EA9A}" type="presOf" srcId="{88745221-073C-41FE-956A-C6D737774B46}" destId="{FDCEC038-C982-4B6C-B1E0-2B5D611EA7E8}" srcOrd="0" destOrd="0" presId="urn:microsoft.com/office/officeart/2005/8/layout/vList2"/>
    <dgm:cxn modelId="{239145CB-CF88-475F-BF9C-B74F95C05783}" type="presOf" srcId="{AAB79AB5-1C5B-492F-B4A0-6169EB5A442C}" destId="{8764EE5F-D2C0-469D-AFAB-DFA92310E5FA}" srcOrd="0" destOrd="0" presId="urn:microsoft.com/office/officeart/2005/8/layout/vList2"/>
    <dgm:cxn modelId="{510985CB-6482-4FD3-8D01-E710422388CF}" type="presOf" srcId="{62C1CB05-7A10-44D6-BCEF-0AA6DF190C9F}" destId="{B5C92415-99A4-4C89-8BE1-E41F29FC5457}" srcOrd="0" destOrd="0" presId="urn:microsoft.com/office/officeart/2005/8/layout/vList2"/>
    <dgm:cxn modelId="{1D497BCF-994F-4D6E-8F86-005825EC2E3D}" srcId="{88745221-073C-41FE-956A-C6D737774B46}" destId="{C56BA45A-A2E8-4C4E-9A03-B444048DF688}" srcOrd="3" destOrd="0" parTransId="{4CD15EE3-11AD-43A8-8217-4F5B56E2A713}" sibTransId="{CDDC1BD9-8D19-4651-9FFB-387B5230052C}"/>
    <dgm:cxn modelId="{FECBCFD5-E45F-479B-8B44-A753F2601237}" srcId="{88745221-073C-41FE-956A-C6D737774B46}" destId="{390D1B75-C557-4265-B933-5A04C4F77896}" srcOrd="1" destOrd="0" parTransId="{32CD0060-40C2-4980-BE57-2A25B33A0ADC}" sibTransId="{D244CBDB-0B2D-496E-87F7-BEDE197F39EA}"/>
    <dgm:cxn modelId="{E9308CE4-5F86-4D92-BED5-9BC31AF2A5A4}" type="presOf" srcId="{C56BA45A-A2E8-4C4E-9A03-B444048DF688}" destId="{BC6B3BC3-AC35-4289-91A5-1B0BAD0CE74F}" srcOrd="0" destOrd="3" presId="urn:microsoft.com/office/officeart/2005/8/layout/vList2"/>
    <dgm:cxn modelId="{13F0A3E9-7451-4CA5-928F-9DC7C2D241AE}" srcId="{88745221-073C-41FE-956A-C6D737774B46}" destId="{B2D6EBF5-72F5-4D40-A01F-B2555694AAE9}" srcOrd="0" destOrd="0" parTransId="{0C6CD436-24C7-4EDB-8A47-EA847CEED5F1}" sibTransId="{6734C7C9-4DA3-487F-90C5-90E34A2B4D08}"/>
    <dgm:cxn modelId="{9772E9EF-1F4F-4EAE-B8F8-83B00BB9E683}" type="presOf" srcId="{616CDA3B-08D1-4425-951A-590DDDC589CD}" destId="{BC6B3BC3-AC35-4289-91A5-1B0BAD0CE74F}" srcOrd="0" destOrd="4" presId="urn:microsoft.com/office/officeart/2005/8/layout/vList2"/>
    <dgm:cxn modelId="{620E2DCD-5D5E-4D69-818C-EBC2F45250B5}" type="presParOf" srcId="{B5C92415-99A4-4C89-8BE1-E41F29FC5457}" destId="{8764EE5F-D2C0-469D-AFAB-DFA92310E5FA}" srcOrd="0" destOrd="0" presId="urn:microsoft.com/office/officeart/2005/8/layout/vList2"/>
    <dgm:cxn modelId="{9E4E933A-4CF2-4BD9-8ECE-899F5913E2BE}" type="presParOf" srcId="{B5C92415-99A4-4C89-8BE1-E41F29FC5457}" destId="{9011C8FC-2747-4CA5-9701-87FA19B5CE8D}" srcOrd="1" destOrd="0" presId="urn:microsoft.com/office/officeart/2005/8/layout/vList2"/>
    <dgm:cxn modelId="{0C479288-18CF-45C4-A1CB-9BA72B1B6184}" type="presParOf" srcId="{B5C92415-99A4-4C89-8BE1-E41F29FC5457}" destId="{FDCEC038-C982-4B6C-B1E0-2B5D611EA7E8}" srcOrd="2" destOrd="0" presId="urn:microsoft.com/office/officeart/2005/8/layout/vList2"/>
    <dgm:cxn modelId="{6DB84481-17CA-41EB-88DF-729684A64048}" type="presParOf" srcId="{B5C92415-99A4-4C89-8BE1-E41F29FC5457}" destId="{BC6B3BC3-AC35-4289-91A5-1B0BAD0CE74F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2FD93EC-956C-45E4-AD61-73F9385C083B}" type="doc">
      <dgm:prSet loTypeId="urn:microsoft.com/office/officeart/2005/8/layout/cycle4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ED01EADC-8C0A-4D9A-B345-C64FE89E36EA}">
      <dgm:prSet phldrT="[Texte]" custT="1"/>
      <dgm:spPr/>
      <dgm:t>
        <a:bodyPr/>
        <a:lstStyle/>
        <a:p>
          <a:pPr marL="0" indent="0"/>
          <a:r>
            <a:rPr lang="fr-FR" sz="1000" dirty="0"/>
            <a:t>Coopération</a:t>
          </a:r>
        </a:p>
      </dgm:t>
    </dgm:pt>
    <dgm:pt modelId="{18D138A5-2DA6-44F0-8C75-88962D77B538}" type="parTrans" cxnId="{18461172-AEE7-4F4A-92A4-7D64838C5F8B}">
      <dgm:prSet/>
      <dgm:spPr/>
      <dgm:t>
        <a:bodyPr/>
        <a:lstStyle/>
        <a:p>
          <a:endParaRPr lang="fr-FR"/>
        </a:p>
      </dgm:t>
    </dgm:pt>
    <dgm:pt modelId="{CFDC2ED5-BE39-433E-89D2-71BC25C4FBC2}" type="sibTrans" cxnId="{18461172-AEE7-4F4A-92A4-7D64838C5F8B}">
      <dgm:prSet/>
      <dgm:spPr/>
      <dgm:t>
        <a:bodyPr/>
        <a:lstStyle/>
        <a:p>
          <a:endParaRPr lang="fr-FR"/>
        </a:p>
      </dgm:t>
    </dgm:pt>
    <dgm:pt modelId="{D0F2CC0D-5433-4A36-AAC2-323833CD7535}">
      <dgm:prSet phldrT="[Texte]" custT="1"/>
      <dgm:spPr/>
      <dgm:t>
        <a:bodyPr/>
        <a:lstStyle/>
        <a:p>
          <a:r>
            <a:rPr lang="fr-FR" sz="1000" dirty="0"/>
            <a:t>Optimisation et mutualisation</a:t>
          </a:r>
        </a:p>
      </dgm:t>
    </dgm:pt>
    <dgm:pt modelId="{C34D2792-FCF9-4990-AE0D-EDEC06DD539E}" type="parTrans" cxnId="{EB83070F-ADC4-480A-8E8E-9256CE0A10DF}">
      <dgm:prSet/>
      <dgm:spPr/>
      <dgm:t>
        <a:bodyPr/>
        <a:lstStyle/>
        <a:p>
          <a:endParaRPr lang="fr-FR"/>
        </a:p>
      </dgm:t>
    </dgm:pt>
    <dgm:pt modelId="{B38802A0-DD35-4563-AB8A-52D310732D1C}" type="sibTrans" cxnId="{EB83070F-ADC4-480A-8E8E-9256CE0A10DF}">
      <dgm:prSet/>
      <dgm:spPr/>
      <dgm:t>
        <a:bodyPr/>
        <a:lstStyle/>
        <a:p>
          <a:endParaRPr lang="fr-FR"/>
        </a:p>
      </dgm:t>
    </dgm:pt>
    <dgm:pt modelId="{F8EA2DF2-8BCA-423F-A450-CD1663C1E0A3}">
      <dgm:prSet phldrT="[Texte]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fr-FR" dirty="0"/>
            <a:t>Solidarité</a:t>
          </a:r>
        </a:p>
      </dgm:t>
    </dgm:pt>
    <dgm:pt modelId="{B238B7AF-E163-4C6B-8D3B-0393C2F2DB28}" type="parTrans" cxnId="{5E87A2A6-C1B7-40D3-9AF1-B346D368C009}">
      <dgm:prSet/>
      <dgm:spPr/>
      <dgm:t>
        <a:bodyPr/>
        <a:lstStyle/>
        <a:p>
          <a:endParaRPr lang="fr-FR"/>
        </a:p>
      </dgm:t>
    </dgm:pt>
    <dgm:pt modelId="{E5DE8D6B-815C-4071-A026-C02A6DA1CD3A}" type="sibTrans" cxnId="{5E87A2A6-C1B7-40D3-9AF1-B346D368C009}">
      <dgm:prSet/>
      <dgm:spPr/>
      <dgm:t>
        <a:bodyPr/>
        <a:lstStyle/>
        <a:p>
          <a:endParaRPr lang="fr-FR"/>
        </a:p>
      </dgm:t>
    </dgm:pt>
    <dgm:pt modelId="{728AE9B1-B919-4F98-89C3-0A152E4C9446}">
      <dgm:prSet phldrT="[Texte]"/>
      <dgm:spPr>
        <a:solidFill>
          <a:schemeClr val="accent1">
            <a:lumMod val="50000"/>
            <a:lumOff val="50000"/>
          </a:schemeClr>
        </a:solidFill>
      </dgm:spPr>
      <dgm:t>
        <a:bodyPr/>
        <a:lstStyle/>
        <a:p>
          <a:r>
            <a:rPr lang="fr-FR" dirty="0"/>
            <a:t>Exigence</a:t>
          </a:r>
        </a:p>
      </dgm:t>
    </dgm:pt>
    <dgm:pt modelId="{03640611-F8B9-4FD5-8771-FEF4458A3EC5}" type="parTrans" cxnId="{1696554E-142F-4710-8E92-ACA559D3B6F3}">
      <dgm:prSet/>
      <dgm:spPr/>
      <dgm:t>
        <a:bodyPr/>
        <a:lstStyle/>
        <a:p>
          <a:endParaRPr lang="fr-FR"/>
        </a:p>
      </dgm:t>
    </dgm:pt>
    <dgm:pt modelId="{4ADE1658-C778-47B1-846E-1574E360D27F}" type="sibTrans" cxnId="{1696554E-142F-4710-8E92-ACA559D3B6F3}">
      <dgm:prSet/>
      <dgm:spPr/>
      <dgm:t>
        <a:bodyPr/>
        <a:lstStyle/>
        <a:p>
          <a:endParaRPr lang="fr-FR"/>
        </a:p>
      </dgm:t>
    </dgm:pt>
    <dgm:pt modelId="{677EB74B-D29F-4159-8168-3F685BD61041}" type="pres">
      <dgm:prSet presAssocID="{32FD93EC-956C-45E4-AD61-73F9385C083B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B7A4E4C6-07A3-48EE-9CDD-A537FD253C64}" type="pres">
      <dgm:prSet presAssocID="{32FD93EC-956C-45E4-AD61-73F9385C083B}" presName="children" presStyleCnt="0"/>
      <dgm:spPr/>
    </dgm:pt>
    <dgm:pt modelId="{DF89F59D-A5E3-40B0-B5DC-17B49BCBCD5D}" type="pres">
      <dgm:prSet presAssocID="{32FD93EC-956C-45E4-AD61-73F9385C083B}" presName="childPlaceholder" presStyleCnt="0"/>
      <dgm:spPr/>
    </dgm:pt>
    <dgm:pt modelId="{2BD12742-157C-4539-B7A7-442114A81230}" type="pres">
      <dgm:prSet presAssocID="{32FD93EC-956C-45E4-AD61-73F9385C083B}" presName="circle" presStyleCnt="0"/>
      <dgm:spPr/>
    </dgm:pt>
    <dgm:pt modelId="{B9DBED23-D0D0-46A3-BFBA-CBAFBC99EB30}" type="pres">
      <dgm:prSet presAssocID="{32FD93EC-956C-45E4-AD61-73F9385C083B}" presName="quadrant1" presStyleLbl="node1" presStyleIdx="0" presStyleCnt="4">
        <dgm:presLayoutVars>
          <dgm:chMax val="1"/>
          <dgm:bulletEnabled val="1"/>
        </dgm:presLayoutVars>
      </dgm:prSet>
      <dgm:spPr/>
    </dgm:pt>
    <dgm:pt modelId="{873A5A51-5B1C-49AD-A229-76E48FDCC3E9}" type="pres">
      <dgm:prSet presAssocID="{32FD93EC-956C-45E4-AD61-73F9385C083B}" presName="quadrant2" presStyleLbl="node1" presStyleIdx="1" presStyleCnt="4">
        <dgm:presLayoutVars>
          <dgm:chMax val="1"/>
          <dgm:bulletEnabled val="1"/>
        </dgm:presLayoutVars>
      </dgm:prSet>
      <dgm:spPr/>
    </dgm:pt>
    <dgm:pt modelId="{B4A23123-578B-4F74-99A1-79F861BE4C4A}" type="pres">
      <dgm:prSet presAssocID="{32FD93EC-956C-45E4-AD61-73F9385C083B}" presName="quadrant3" presStyleLbl="node1" presStyleIdx="2" presStyleCnt="4">
        <dgm:presLayoutVars>
          <dgm:chMax val="1"/>
          <dgm:bulletEnabled val="1"/>
        </dgm:presLayoutVars>
      </dgm:prSet>
      <dgm:spPr/>
    </dgm:pt>
    <dgm:pt modelId="{7FB58204-DC39-4EE6-A3FC-FB3C9B6C0EE5}" type="pres">
      <dgm:prSet presAssocID="{32FD93EC-956C-45E4-AD61-73F9385C083B}" presName="quadrant4" presStyleLbl="node1" presStyleIdx="3" presStyleCnt="4">
        <dgm:presLayoutVars>
          <dgm:chMax val="1"/>
          <dgm:bulletEnabled val="1"/>
        </dgm:presLayoutVars>
      </dgm:prSet>
      <dgm:spPr/>
    </dgm:pt>
    <dgm:pt modelId="{7686D215-F455-4FAB-BD4A-587A7C6084C1}" type="pres">
      <dgm:prSet presAssocID="{32FD93EC-956C-45E4-AD61-73F9385C083B}" presName="quadrantPlaceholder" presStyleCnt="0"/>
      <dgm:spPr/>
    </dgm:pt>
    <dgm:pt modelId="{D3350468-D0C3-4897-AEE7-5A9290FB2C13}" type="pres">
      <dgm:prSet presAssocID="{32FD93EC-956C-45E4-AD61-73F9385C083B}" presName="center1" presStyleLbl="fgShp" presStyleIdx="0" presStyleCnt="2"/>
      <dgm:spPr/>
    </dgm:pt>
    <dgm:pt modelId="{08D5FB11-0060-4468-BAD4-49CD0024146B}" type="pres">
      <dgm:prSet presAssocID="{32FD93EC-956C-45E4-AD61-73F9385C083B}" presName="center2" presStyleLbl="fgShp" presStyleIdx="1" presStyleCnt="2"/>
      <dgm:spPr/>
    </dgm:pt>
  </dgm:ptLst>
  <dgm:cxnLst>
    <dgm:cxn modelId="{BE86C30B-B1DC-432E-9875-F00E58A03ACB}" type="presOf" srcId="{32FD93EC-956C-45E4-AD61-73F9385C083B}" destId="{677EB74B-D29F-4159-8168-3F685BD61041}" srcOrd="0" destOrd="0" presId="urn:microsoft.com/office/officeart/2005/8/layout/cycle4"/>
    <dgm:cxn modelId="{EB83070F-ADC4-480A-8E8E-9256CE0A10DF}" srcId="{32FD93EC-956C-45E4-AD61-73F9385C083B}" destId="{D0F2CC0D-5433-4A36-AAC2-323833CD7535}" srcOrd="1" destOrd="0" parTransId="{C34D2792-FCF9-4990-AE0D-EDEC06DD539E}" sibTransId="{B38802A0-DD35-4563-AB8A-52D310732D1C}"/>
    <dgm:cxn modelId="{92D2C75B-CC98-456F-8DAA-11A47A20198A}" type="presOf" srcId="{ED01EADC-8C0A-4D9A-B345-C64FE89E36EA}" destId="{B9DBED23-D0D0-46A3-BFBA-CBAFBC99EB30}" srcOrd="0" destOrd="0" presId="urn:microsoft.com/office/officeart/2005/8/layout/cycle4"/>
    <dgm:cxn modelId="{27990A6B-50B1-4871-BBBD-368E119C2820}" type="presOf" srcId="{F8EA2DF2-8BCA-423F-A450-CD1663C1E0A3}" destId="{B4A23123-578B-4F74-99A1-79F861BE4C4A}" srcOrd="0" destOrd="0" presId="urn:microsoft.com/office/officeart/2005/8/layout/cycle4"/>
    <dgm:cxn modelId="{1696554E-142F-4710-8E92-ACA559D3B6F3}" srcId="{32FD93EC-956C-45E4-AD61-73F9385C083B}" destId="{728AE9B1-B919-4F98-89C3-0A152E4C9446}" srcOrd="3" destOrd="0" parTransId="{03640611-F8B9-4FD5-8771-FEF4458A3EC5}" sibTransId="{4ADE1658-C778-47B1-846E-1574E360D27F}"/>
    <dgm:cxn modelId="{18461172-AEE7-4F4A-92A4-7D64838C5F8B}" srcId="{32FD93EC-956C-45E4-AD61-73F9385C083B}" destId="{ED01EADC-8C0A-4D9A-B345-C64FE89E36EA}" srcOrd="0" destOrd="0" parTransId="{18D138A5-2DA6-44F0-8C75-88962D77B538}" sibTransId="{CFDC2ED5-BE39-433E-89D2-71BC25C4FBC2}"/>
    <dgm:cxn modelId="{6297D593-007D-48D8-8FBD-816C025F7775}" type="presOf" srcId="{728AE9B1-B919-4F98-89C3-0A152E4C9446}" destId="{7FB58204-DC39-4EE6-A3FC-FB3C9B6C0EE5}" srcOrd="0" destOrd="0" presId="urn:microsoft.com/office/officeart/2005/8/layout/cycle4"/>
    <dgm:cxn modelId="{5E87A2A6-C1B7-40D3-9AF1-B346D368C009}" srcId="{32FD93EC-956C-45E4-AD61-73F9385C083B}" destId="{F8EA2DF2-8BCA-423F-A450-CD1663C1E0A3}" srcOrd="2" destOrd="0" parTransId="{B238B7AF-E163-4C6B-8D3B-0393C2F2DB28}" sibTransId="{E5DE8D6B-815C-4071-A026-C02A6DA1CD3A}"/>
    <dgm:cxn modelId="{50D4B7DE-152F-40DA-814F-F60A406A2376}" type="presOf" srcId="{D0F2CC0D-5433-4A36-AAC2-323833CD7535}" destId="{873A5A51-5B1C-49AD-A229-76E48FDCC3E9}" srcOrd="0" destOrd="0" presId="urn:microsoft.com/office/officeart/2005/8/layout/cycle4"/>
    <dgm:cxn modelId="{3100FC5C-2EF9-4354-BC76-294E5807D7CB}" type="presParOf" srcId="{677EB74B-D29F-4159-8168-3F685BD61041}" destId="{B7A4E4C6-07A3-48EE-9CDD-A537FD253C64}" srcOrd="0" destOrd="0" presId="urn:microsoft.com/office/officeart/2005/8/layout/cycle4"/>
    <dgm:cxn modelId="{1A4689FF-8527-486B-A770-3319205F409D}" type="presParOf" srcId="{B7A4E4C6-07A3-48EE-9CDD-A537FD253C64}" destId="{DF89F59D-A5E3-40B0-B5DC-17B49BCBCD5D}" srcOrd="0" destOrd="0" presId="urn:microsoft.com/office/officeart/2005/8/layout/cycle4"/>
    <dgm:cxn modelId="{1CE603A1-4712-46D9-9598-BA0BB5656FDD}" type="presParOf" srcId="{677EB74B-D29F-4159-8168-3F685BD61041}" destId="{2BD12742-157C-4539-B7A7-442114A81230}" srcOrd="1" destOrd="0" presId="urn:microsoft.com/office/officeart/2005/8/layout/cycle4"/>
    <dgm:cxn modelId="{E4BE6F40-6885-4F8B-A461-E3466C784C70}" type="presParOf" srcId="{2BD12742-157C-4539-B7A7-442114A81230}" destId="{B9DBED23-D0D0-46A3-BFBA-CBAFBC99EB30}" srcOrd="0" destOrd="0" presId="urn:microsoft.com/office/officeart/2005/8/layout/cycle4"/>
    <dgm:cxn modelId="{71D91809-BC8A-4961-9E42-540393889F90}" type="presParOf" srcId="{2BD12742-157C-4539-B7A7-442114A81230}" destId="{873A5A51-5B1C-49AD-A229-76E48FDCC3E9}" srcOrd="1" destOrd="0" presId="urn:microsoft.com/office/officeart/2005/8/layout/cycle4"/>
    <dgm:cxn modelId="{147C57B6-9DD2-4924-8A93-D9A46C424E6B}" type="presParOf" srcId="{2BD12742-157C-4539-B7A7-442114A81230}" destId="{B4A23123-578B-4F74-99A1-79F861BE4C4A}" srcOrd="2" destOrd="0" presId="urn:microsoft.com/office/officeart/2005/8/layout/cycle4"/>
    <dgm:cxn modelId="{FE4FD981-B487-45CD-BADC-AA90913F3459}" type="presParOf" srcId="{2BD12742-157C-4539-B7A7-442114A81230}" destId="{7FB58204-DC39-4EE6-A3FC-FB3C9B6C0EE5}" srcOrd="3" destOrd="0" presId="urn:microsoft.com/office/officeart/2005/8/layout/cycle4"/>
    <dgm:cxn modelId="{EAD48BBE-A282-46C1-A7C3-9775A646ECC4}" type="presParOf" srcId="{2BD12742-157C-4539-B7A7-442114A81230}" destId="{7686D215-F455-4FAB-BD4A-587A7C6084C1}" srcOrd="4" destOrd="0" presId="urn:microsoft.com/office/officeart/2005/8/layout/cycle4"/>
    <dgm:cxn modelId="{5B4FEFA6-D90B-4204-A091-5B9F0EF87578}" type="presParOf" srcId="{677EB74B-D29F-4159-8168-3F685BD61041}" destId="{D3350468-D0C3-4897-AEE7-5A9290FB2C13}" srcOrd="2" destOrd="0" presId="urn:microsoft.com/office/officeart/2005/8/layout/cycle4"/>
    <dgm:cxn modelId="{10568418-9F25-40CD-A489-BDF97E5BDDBC}" type="presParOf" srcId="{677EB74B-D29F-4159-8168-3F685BD61041}" destId="{08D5FB11-0060-4468-BAD4-49CD0024146B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860B214-86BA-408F-926C-0D9DCFB4213E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7295F30D-4F4D-41EA-B000-49F3613642A6}">
      <dgm:prSet phldrT="[Texte]" custT="1"/>
      <dgm:spPr>
        <a:solidFill>
          <a:schemeClr val="accent1">
            <a:lumMod val="25000"/>
            <a:lumOff val="75000"/>
          </a:schemeClr>
        </a:solidFill>
      </dgm:spPr>
      <dgm:t>
        <a:bodyPr/>
        <a:lstStyle/>
        <a:p>
          <a:r>
            <a:rPr lang="fr-FR" sz="2800" dirty="0"/>
            <a:t>Enjeux</a:t>
          </a:r>
        </a:p>
      </dgm:t>
    </dgm:pt>
    <dgm:pt modelId="{7511408A-4404-49F4-B039-CEBE68272D2A}" type="parTrans" cxnId="{93A4830B-D019-4B77-B3A4-18252B33DC57}">
      <dgm:prSet/>
      <dgm:spPr/>
      <dgm:t>
        <a:bodyPr/>
        <a:lstStyle/>
        <a:p>
          <a:endParaRPr lang="fr-FR"/>
        </a:p>
      </dgm:t>
    </dgm:pt>
    <dgm:pt modelId="{80DBE600-DA96-4E6C-B7AB-47B2730FE77B}" type="sibTrans" cxnId="{93A4830B-D019-4B77-B3A4-18252B33DC57}">
      <dgm:prSet/>
      <dgm:spPr/>
      <dgm:t>
        <a:bodyPr/>
        <a:lstStyle/>
        <a:p>
          <a:endParaRPr lang="fr-FR"/>
        </a:p>
      </dgm:t>
    </dgm:pt>
    <dgm:pt modelId="{091A4541-ACD8-47CA-A8E4-279A0D0C5BF3}">
      <dgm:prSet phldrT="[Texte]"/>
      <dgm:spPr/>
      <dgm:t>
        <a:bodyPr/>
        <a:lstStyle/>
        <a:p>
          <a:r>
            <a:rPr lang="fr-FR" dirty="0"/>
            <a:t>Prioriser nos créations de FOAD sur des thématiques métiers spécifiques à notre ministère</a:t>
          </a:r>
        </a:p>
      </dgm:t>
    </dgm:pt>
    <dgm:pt modelId="{BFF8B1C8-0B54-4D9C-A259-AEC4C2F3EDA4}" type="parTrans" cxnId="{D89418FA-FCDB-46C5-ABEE-C006F1420C64}">
      <dgm:prSet/>
      <dgm:spPr/>
      <dgm:t>
        <a:bodyPr/>
        <a:lstStyle/>
        <a:p>
          <a:endParaRPr lang="fr-FR"/>
        </a:p>
      </dgm:t>
    </dgm:pt>
    <dgm:pt modelId="{88AE178C-B3C2-4863-ADCE-F225CF7D6372}" type="sibTrans" cxnId="{D89418FA-FCDB-46C5-ABEE-C006F1420C64}">
      <dgm:prSet/>
      <dgm:spPr/>
      <dgm:t>
        <a:bodyPr/>
        <a:lstStyle/>
        <a:p>
          <a:endParaRPr lang="fr-FR"/>
        </a:p>
      </dgm:t>
    </dgm:pt>
    <dgm:pt modelId="{078A947C-0381-44C1-91F0-9AB8CB7EF015}">
      <dgm:prSet phldrT="[Texte]"/>
      <dgm:spPr/>
      <dgm:t>
        <a:bodyPr/>
        <a:lstStyle/>
        <a:p>
          <a:r>
            <a:rPr lang="fr-FR" dirty="0"/>
            <a:t>Développer des parcours de formation hybridés </a:t>
          </a:r>
        </a:p>
      </dgm:t>
    </dgm:pt>
    <dgm:pt modelId="{5E11184D-D61E-4C53-AE8D-14C0A8A5DBBF}" type="parTrans" cxnId="{D4B3E59A-4435-4DAD-A878-798C6CCCCF79}">
      <dgm:prSet/>
      <dgm:spPr/>
      <dgm:t>
        <a:bodyPr/>
        <a:lstStyle/>
        <a:p>
          <a:endParaRPr lang="fr-FR"/>
        </a:p>
      </dgm:t>
    </dgm:pt>
    <dgm:pt modelId="{450B9CD6-7C6E-45DD-8F15-D4274306F457}" type="sibTrans" cxnId="{D4B3E59A-4435-4DAD-A878-798C6CCCCF79}">
      <dgm:prSet/>
      <dgm:spPr/>
      <dgm:t>
        <a:bodyPr/>
        <a:lstStyle/>
        <a:p>
          <a:endParaRPr lang="fr-FR"/>
        </a:p>
      </dgm:t>
    </dgm:pt>
    <dgm:pt modelId="{D68CA120-46B2-45FB-A299-F039C20024D1}">
      <dgm:prSet phldrT="[Texte]" custT="1"/>
      <dgm:spPr>
        <a:solidFill>
          <a:schemeClr val="accent1">
            <a:lumMod val="75000"/>
            <a:lumOff val="25000"/>
          </a:schemeClr>
        </a:solidFill>
      </dgm:spPr>
      <dgm:t>
        <a:bodyPr/>
        <a:lstStyle/>
        <a:p>
          <a:r>
            <a:rPr lang="fr-FR" sz="2800" dirty="0"/>
            <a:t>Bonnes pratiques</a:t>
          </a:r>
        </a:p>
      </dgm:t>
    </dgm:pt>
    <dgm:pt modelId="{7184F3A3-9717-4A29-9ADF-68DC606F35B0}" type="parTrans" cxnId="{4DD028C2-7678-4196-BB33-FC3E23AF56F4}">
      <dgm:prSet/>
      <dgm:spPr/>
      <dgm:t>
        <a:bodyPr/>
        <a:lstStyle/>
        <a:p>
          <a:endParaRPr lang="fr-FR"/>
        </a:p>
      </dgm:t>
    </dgm:pt>
    <dgm:pt modelId="{91ED3D2D-B8FD-4E40-9E11-AD2A2289EFC4}" type="sibTrans" cxnId="{4DD028C2-7678-4196-BB33-FC3E23AF56F4}">
      <dgm:prSet/>
      <dgm:spPr/>
      <dgm:t>
        <a:bodyPr/>
        <a:lstStyle/>
        <a:p>
          <a:endParaRPr lang="fr-FR"/>
        </a:p>
      </dgm:t>
    </dgm:pt>
    <dgm:pt modelId="{15D7A9FA-91CF-4D93-AA97-05806DF5DFC6}">
      <dgm:prSet phldrT="[Texte]"/>
      <dgm:spPr/>
      <dgm:t>
        <a:bodyPr/>
        <a:lstStyle/>
        <a:p>
          <a:r>
            <a:rPr lang="fr-FR" dirty="0"/>
            <a:t>Avant le lancement du projet</a:t>
          </a:r>
        </a:p>
      </dgm:t>
    </dgm:pt>
    <dgm:pt modelId="{1397EA02-A743-408F-9F7E-6F420A92B020}" type="parTrans" cxnId="{C4FED234-DC00-484C-8D7E-EE9E8551BBFB}">
      <dgm:prSet/>
      <dgm:spPr/>
      <dgm:t>
        <a:bodyPr/>
        <a:lstStyle/>
        <a:p>
          <a:endParaRPr lang="fr-FR"/>
        </a:p>
      </dgm:t>
    </dgm:pt>
    <dgm:pt modelId="{33E16074-1B02-440B-B0CF-C122910A34A7}" type="sibTrans" cxnId="{C4FED234-DC00-484C-8D7E-EE9E8551BBFB}">
      <dgm:prSet/>
      <dgm:spPr/>
      <dgm:t>
        <a:bodyPr/>
        <a:lstStyle/>
        <a:p>
          <a:endParaRPr lang="fr-FR"/>
        </a:p>
      </dgm:t>
    </dgm:pt>
    <dgm:pt modelId="{624C395D-CA61-4E37-A561-809FAFC693B9}">
      <dgm:prSet phldrT="[Texte]"/>
      <dgm:spPr/>
      <dgm:t>
        <a:bodyPr/>
        <a:lstStyle/>
        <a:p>
          <a:r>
            <a:rPr lang="fr-FR" dirty="0"/>
            <a:t>Pour lancer le projet</a:t>
          </a:r>
        </a:p>
      </dgm:t>
    </dgm:pt>
    <dgm:pt modelId="{E99A11E9-2699-4E99-852E-4DD1FC00F87F}" type="parTrans" cxnId="{8D09E946-151D-457C-BE52-2D6F0B811CC1}">
      <dgm:prSet/>
      <dgm:spPr/>
      <dgm:t>
        <a:bodyPr/>
        <a:lstStyle/>
        <a:p>
          <a:endParaRPr lang="fr-FR"/>
        </a:p>
      </dgm:t>
    </dgm:pt>
    <dgm:pt modelId="{DD637584-7164-4A05-9E66-1B788F9735C0}" type="sibTrans" cxnId="{8D09E946-151D-457C-BE52-2D6F0B811CC1}">
      <dgm:prSet/>
      <dgm:spPr/>
      <dgm:t>
        <a:bodyPr/>
        <a:lstStyle/>
        <a:p>
          <a:endParaRPr lang="fr-FR"/>
        </a:p>
      </dgm:t>
    </dgm:pt>
    <dgm:pt modelId="{21345344-32C3-4192-BDFA-8256D97FFBAA}">
      <dgm:prSet phldrT="[Texte]"/>
      <dgm:spPr/>
      <dgm:t>
        <a:bodyPr/>
        <a:lstStyle/>
        <a:p>
          <a:r>
            <a:rPr lang="fr-FR" dirty="0"/>
            <a:t>Pour communiquer sur le projet</a:t>
          </a:r>
        </a:p>
      </dgm:t>
    </dgm:pt>
    <dgm:pt modelId="{F7754BB1-375F-4837-BAB1-5C9F50913CAC}" type="parTrans" cxnId="{3B807A00-800A-4D02-88D1-036A4A59434E}">
      <dgm:prSet/>
      <dgm:spPr/>
      <dgm:t>
        <a:bodyPr/>
        <a:lstStyle/>
        <a:p>
          <a:endParaRPr lang="fr-FR"/>
        </a:p>
      </dgm:t>
    </dgm:pt>
    <dgm:pt modelId="{D6317A02-0BB9-489E-B6C3-E6B01856A90E}" type="sibTrans" cxnId="{3B807A00-800A-4D02-88D1-036A4A59434E}">
      <dgm:prSet/>
      <dgm:spPr/>
      <dgm:t>
        <a:bodyPr/>
        <a:lstStyle/>
        <a:p>
          <a:endParaRPr lang="fr-FR"/>
        </a:p>
      </dgm:t>
    </dgm:pt>
    <dgm:pt modelId="{DB842254-6060-408F-9E82-E6562E9A5A1F}">
      <dgm:prSet phldrT="[Texte]"/>
      <dgm:spPr/>
      <dgm:t>
        <a:bodyPr/>
        <a:lstStyle/>
        <a:p>
          <a:r>
            <a:rPr lang="fr-FR" dirty="0"/>
            <a:t>Pour faire vivre la formation</a:t>
          </a:r>
        </a:p>
      </dgm:t>
    </dgm:pt>
    <dgm:pt modelId="{E3535F65-8C31-4268-880D-FD489B288425}" type="parTrans" cxnId="{0AD37242-DD8F-43EB-A699-276778656A62}">
      <dgm:prSet/>
      <dgm:spPr/>
      <dgm:t>
        <a:bodyPr/>
        <a:lstStyle/>
        <a:p>
          <a:endParaRPr lang="fr-FR"/>
        </a:p>
      </dgm:t>
    </dgm:pt>
    <dgm:pt modelId="{FF479EB2-2332-4464-9DBD-DF1152D9351F}" type="sibTrans" cxnId="{0AD37242-DD8F-43EB-A699-276778656A62}">
      <dgm:prSet/>
      <dgm:spPr/>
      <dgm:t>
        <a:bodyPr/>
        <a:lstStyle/>
        <a:p>
          <a:endParaRPr lang="fr-FR"/>
        </a:p>
      </dgm:t>
    </dgm:pt>
    <dgm:pt modelId="{CAFE7C5B-418B-438D-ACF9-5F13165D9ACF}" type="pres">
      <dgm:prSet presAssocID="{8860B214-86BA-408F-926C-0D9DCFB4213E}" presName="Name0" presStyleCnt="0">
        <dgm:presLayoutVars>
          <dgm:dir/>
          <dgm:animLvl val="lvl"/>
          <dgm:resizeHandles/>
        </dgm:presLayoutVars>
      </dgm:prSet>
      <dgm:spPr/>
    </dgm:pt>
    <dgm:pt modelId="{43F0D27F-3352-4034-8C2B-92AF2C756265}" type="pres">
      <dgm:prSet presAssocID="{7295F30D-4F4D-41EA-B000-49F3613642A6}" presName="linNode" presStyleCnt="0"/>
      <dgm:spPr/>
    </dgm:pt>
    <dgm:pt modelId="{23B418A0-D0DC-4848-871C-91D319D910F2}" type="pres">
      <dgm:prSet presAssocID="{7295F30D-4F4D-41EA-B000-49F3613642A6}" presName="parentShp" presStyleLbl="node1" presStyleIdx="0" presStyleCnt="2">
        <dgm:presLayoutVars>
          <dgm:bulletEnabled val="1"/>
        </dgm:presLayoutVars>
      </dgm:prSet>
      <dgm:spPr/>
    </dgm:pt>
    <dgm:pt modelId="{4D95198C-4C78-4D92-872D-2FAE0ED964EC}" type="pres">
      <dgm:prSet presAssocID="{7295F30D-4F4D-41EA-B000-49F3613642A6}" presName="childShp" presStyleLbl="bgAccFollowNode1" presStyleIdx="0" presStyleCnt="2">
        <dgm:presLayoutVars>
          <dgm:bulletEnabled val="1"/>
        </dgm:presLayoutVars>
      </dgm:prSet>
      <dgm:spPr/>
    </dgm:pt>
    <dgm:pt modelId="{F3FA3237-BD8F-463D-BEC1-09FC078443C3}" type="pres">
      <dgm:prSet presAssocID="{80DBE600-DA96-4E6C-B7AB-47B2730FE77B}" presName="spacing" presStyleCnt="0"/>
      <dgm:spPr/>
    </dgm:pt>
    <dgm:pt modelId="{79E8F352-9F24-44AB-BF7A-AB5B4E2587AF}" type="pres">
      <dgm:prSet presAssocID="{D68CA120-46B2-45FB-A299-F039C20024D1}" presName="linNode" presStyleCnt="0"/>
      <dgm:spPr/>
    </dgm:pt>
    <dgm:pt modelId="{D96DB3ED-5C40-4AE5-9B44-133D20A8705F}" type="pres">
      <dgm:prSet presAssocID="{D68CA120-46B2-45FB-A299-F039C20024D1}" presName="parentShp" presStyleLbl="node1" presStyleIdx="1" presStyleCnt="2">
        <dgm:presLayoutVars>
          <dgm:bulletEnabled val="1"/>
        </dgm:presLayoutVars>
      </dgm:prSet>
      <dgm:spPr/>
    </dgm:pt>
    <dgm:pt modelId="{16471FD1-F05F-4B02-978A-B35DBE2877B8}" type="pres">
      <dgm:prSet presAssocID="{D68CA120-46B2-45FB-A299-F039C20024D1}" presName="childShp" presStyleLbl="bgAccFollowNode1" presStyleIdx="1" presStyleCnt="2">
        <dgm:presLayoutVars>
          <dgm:bulletEnabled val="1"/>
        </dgm:presLayoutVars>
      </dgm:prSet>
      <dgm:spPr/>
    </dgm:pt>
  </dgm:ptLst>
  <dgm:cxnLst>
    <dgm:cxn modelId="{3B807A00-800A-4D02-88D1-036A4A59434E}" srcId="{D68CA120-46B2-45FB-A299-F039C20024D1}" destId="{21345344-32C3-4192-BDFA-8256D97FFBAA}" srcOrd="2" destOrd="0" parTransId="{F7754BB1-375F-4837-BAB1-5C9F50913CAC}" sibTransId="{D6317A02-0BB9-489E-B6C3-E6B01856A90E}"/>
    <dgm:cxn modelId="{93A4830B-D019-4B77-B3A4-18252B33DC57}" srcId="{8860B214-86BA-408F-926C-0D9DCFB4213E}" destId="{7295F30D-4F4D-41EA-B000-49F3613642A6}" srcOrd="0" destOrd="0" parTransId="{7511408A-4404-49F4-B039-CEBE68272D2A}" sibTransId="{80DBE600-DA96-4E6C-B7AB-47B2730FE77B}"/>
    <dgm:cxn modelId="{51A6E619-6F1F-4286-BDDD-8CD71810B032}" type="presOf" srcId="{15D7A9FA-91CF-4D93-AA97-05806DF5DFC6}" destId="{16471FD1-F05F-4B02-978A-B35DBE2877B8}" srcOrd="0" destOrd="0" presId="urn:microsoft.com/office/officeart/2005/8/layout/vList6"/>
    <dgm:cxn modelId="{A0657729-2007-4232-AA12-2AF8F42B5C68}" type="presOf" srcId="{091A4541-ACD8-47CA-A8E4-279A0D0C5BF3}" destId="{4D95198C-4C78-4D92-872D-2FAE0ED964EC}" srcOrd="0" destOrd="0" presId="urn:microsoft.com/office/officeart/2005/8/layout/vList6"/>
    <dgm:cxn modelId="{C4FED234-DC00-484C-8D7E-EE9E8551BBFB}" srcId="{D68CA120-46B2-45FB-A299-F039C20024D1}" destId="{15D7A9FA-91CF-4D93-AA97-05806DF5DFC6}" srcOrd="0" destOrd="0" parTransId="{1397EA02-A743-408F-9F7E-6F420A92B020}" sibTransId="{33E16074-1B02-440B-B0CF-C122910A34A7}"/>
    <dgm:cxn modelId="{A7E46B3E-DCC1-45C6-BCF5-9451390CE9FF}" type="presOf" srcId="{D68CA120-46B2-45FB-A299-F039C20024D1}" destId="{D96DB3ED-5C40-4AE5-9B44-133D20A8705F}" srcOrd="0" destOrd="0" presId="urn:microsoft.com/office/officeart/2005/8/layout/vList6"/>
    <dgm:cxn modelId="{0AD37242-DD8F-43EB-A699-276778656A62}" srcId="{D68CA120-46B2-45FB-A299-F039C20024D1}" destId="{DB842254-6060-408F-9E82-E6562E9A5A1F}" srcOrd="3" destOrd="0" parTransId="{E3535F65-8C31-4268-880D-FD489B288425}" sibTransId="{FF479EB2-2332-4464-9DBD-DF1152D9351F}"/>
    <dgm:cxn modelId="{8D09E946-151D-457C-BE52-2D6F0B811CC1}" srcId="{D68CA120-46B2-45FB-A299-F039C20024D1}" destId="{624C395D-CA61-4E37-A561-809FAFC693B9}" srcOrd="1" destOrd="0" parTransId="{E99A11E9-2699-4E99-852E-4DD1FC00F87F}" sibTransId="{DD637584-7164-4A05-9E66-1B788F9735C0}"/>
    <dgm:cxn modelId="{D4B3E59A-4435-4DAD-A878-798C6CCCCF79}" srcId="{7295F30D-4F4D-41EA-B000-49F3613642A6}" destId="{078A947C-0381-44C1-91F0-9AB8CB7EF015}" srcOrd="1" destOrd="0" parTransId="{5E11184D-D61E-4C53-AE8D-14C0A8A5DBBF}" sibTransId="{450B9CD6-7C6E-45DD-8F15-D4274306F457}"/>
    <dgm:cxn modelId="{5116B2A8-D3A2-4729-8465-9C4705D249BA}" type="presOf" srcId="{21345344-32C3-4192-BDFA-8256D97FFBAA}" destId="{16471FD1-F05F-4B02-978A-B35DBE2877B8}" srcOrd="0" destOrd="2" presId="urn:microsoft.com/office/officeart/2005/8/layout/vList6"/>
    <dgm:cxn modelId="{CE2FB8B5-E247-4016-8992-7BEC4CE58580}" type="presOf" srcId="{8860B214-86BA-408F-926C-0D9DCFB4213E}" destId="{CAFE7C5B-418B-438D-ACF9-5F13165D9ACF}" srcOrd="0" destOrd="0" presId="urn:microsoft.com/office/officeart/2005/8/layout/vList6"/>
    <dgm:cxn modelId="{600F50B6-42A3-4DF4-B7F6-F6B5EB306A65}" type="presOf" srcId="{078A947C-0381-44C1-91F0-9AB8CB7EF015}" destId="{4D95198C-4C78-4D92-872D-2FAE0ED964EC}" srcOrd="0" destOrd="1" presId="urn:microsoft.com/office/officeart/2005/8/layout/vList6"/>
    <dgm:cxn modelId="{4DD028C2-7678-4196-BB33-FC3E23AF56F4}" srcId="{8860B214-86BA-408F-926C-0D9DCFB4213E}" destId="{D68CA120-46B2-45FB-A299-F039C20024D1}" srcOrd="1" destOrd="0" parTransId="{7184F3A3-9717-4A29-9ADF-68DC606F35B0}" sibTransId="{91ED3D2D-B8FD-4E40-9E11-AD2A2289EFC4}"/>
    <dgm:cxn modelId="{AAF256D4-F41C-4C49-A5D1-31D7817C6690}" type="presOf" srcId="{DB842254-6060-408F-9E82-E6562E9A5A1F}" destId="{16471FD1-F05F-4B02-978A-B35DBE2877B8}" srcOrd="0" destOrd="3" presId="urn:microsoft.com/office/officeart/2005/8/layout/vList6"/>
    <dgm:cxn modelId="{D32262E2-2444-4AF0-8A58-5BD51FFC63D4}" type="presOf" srcId="{7295F30D-4F4D-41EA-B000-49F3613642A6}" destId="{23B418A0-D0DC-4848-871C-91D319D910F2}" srcOrd="0" destOrd="0" presId="urn:microsoft.com/office/officeart/2005/8/layout/vList6"/>
    <dgm:cxn modelId="{1F2F34F3-9785-403C-A0B0-583481C29292}" type="presOf" srcId="{624C395D-CA61-4E37-A561-809FAFC693B9}" destId="{16471FD1-F05F-4B02-978A-B35DBE2877B8}" srcOrd="0" destOrd="1" presId="urn:microsoft.com/office/officeart/2005/8/layout/vList6"/>
    <dgm:cxn modelId="{D89418FA-FCDB-46C5-ABEE-C006F1420C64}" srcId="{7295F30D-4F4D-41EA-B000-49F3613642A6}" destId="{091A4541-ACD8-47CA-A8E4-279A0D0C5BF3}" srcOrd="0" destOrd="0" parTransId="{BFF8B1C8-0B54-4D9C-A259-AEC4C2F3EDA4}" sibTransId="{88AE178C-B3C2-4863-ADCE-F225CF7D6372}"/>
    <dgm:cxn modelId="{919EE60F-624D-4929-9168-8C41605D567F}" type="presParOf" srcId="{CAFE7C5B-418B-438D-ACF9-5F13165D9ACF}" destId="{43F0D27F-3352-4034-8C2B-92AF2C756265}" srcOrd="0" destOrd="0" presId="urn:microsoft.com/office/officeart/2005/8/layout/vList6"/>
    <dgm:cxn modelId="{2F14ED75-1170-406B-974A-FB05B3759871}" type="presParOf" srcId="{43F0D27F-3352-4034-8C2B-92AF2C756265}" destId="{23B418A0-D0DC-4848-871C-91D319D910F2}" srcOrd="0" destOrd="0" presId="urn:microsoft.com/office/officeart/2005/8/layout/vList6"/>
    <dgm:cxn modelId="{AFD484FB-3AB5-4277-B682-747494197866}" type="presParOf" srcId="{43F0D27F-3352-4034-8C2B-92AF2C756265}" destId="{4D95198C-4C78-4D92-872D-2FAE0ED964EC}" srcOrd="1" destOrd="0" presId="urn:microsoft.com/office/officeart/2005/8/layout/vList6"/>
    <dgm:cxn modelId="{53E0BDB4-0CA3-4C9B-8E40-6AE6B7EBBAE3}" type="presParOf" srcId="{CAFE7C5B-418B-438D-ACF9-5F13165D9ACF}" destId="{F3FA3237-BD8F-463D-BEC1-09FC078443C3}" srcOrd="1" destOrd="0" presId="urn:microsoft.com/office/officeart/2005/8/layout/vList6"/>
    <dgm:cxn modelId="{26E1D8C6-045D-44C4-9B46-A795920DCFAB}" type="presParOf" srcId="{CAFE7C5B-418B-438D-ACF9-5F13165D9ACF}" destId="{79E8F352-9F24-44AB-BF7A-AB5B4E2587AF}" srcOrd="2" destOrd="0" presId="urn:microsoft.com/office/officeart/2005/8/layout/vList6"/>
    <dgm:cxn modelId="{868D7F00-5510-4167-AA5E-849E28197812}" type="presParOf" srcId="{79E8F352-9F24-44AB-BF7A-AB5B4E2587AF}" destId="{D96DB3ED-5C40-4AE5-9B44-133D20A8705F}" srcOrd="0" destOrd="0" presId="urn:microsoft.com/office/officeart/2005/8/layout/vList6"/>
    <dgm:cxn modelId="{ACFDEAFB-A519-4F30-9FDE-64A4DEA103CA}" type="presParOf" srcId="{79E8F352-9F24-44AB-BF7A-AB5B4E2587AF}" destId="{16471FD1-F05F-4B02-978A-B35DBE2877B8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208953-506D-4592-A675-EECDF304E31A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</dgm:pt>
    <dgm:pt modelId="{376ECFA1-9D32-4A15-AF55-D08237D8B340}">
      <dgm:prSet phldrT="[Texte]" custT="1"/>
      <dgm:spPr/>
      <dgm:t>
        <a:bodyPr/>
        <a:lstStyle/>
        <a:p>
          <a:r>
            <a:rPr lang="fr-FR" sz="1600" b="1" dirty="0"/>
            <a:t>L’opportunité de se lancer</a:t>
          </a:r>
        </a:p>
        <a:p>
          <a:r>
            <a:rPr lang="fr-FR" sz="1600" dirty="0"/>
            <a:t>1 – De l’idée… au lancement du projet de FOAD</a:t>
          </a:r>
        </a:p>
      </dgm:t>
    </dgm:pt>
    <dgm:pt modelId="{ABE8700A-F641-4236-BFAA-D5B08059AAC9}" type="parTrans" cxnId="{A805E48C-A504-4904-B908-EAEBA8E94077}">
      <dgm:prSet/>
      <dgm:spPr/>
      <dgm:t>
        <a:bodyPr/>
        <a:lstStyle/>
        <a:p>
          <a:endParaRPr lang="fr-FR"/>
        </a:p>
      </dgm:t>
    </dgm:pt>
    <dgm:pt modelId="{614467E1-344A-4131-8CC8-C6B473515BEA}" type="sibTrans" cxnId="{A805E48C-A504-4904-B908-EAEBA8E94077}">
      <dgm:prSet/>
      <dgm:spPr/>
      <dgm:t>
        <a:bodyPr/>
        <a:lstStyle/>
        <a:p>
          <a:endParaRPr lang="fr-FR"/>
        </a:p>
      </dgm:t>
    </dgm:pt>
    <dgm:pt modelId="{D4554A8B-35EB-4313-AF83-4C4F2D6C189E}">
      <dgm:prSet phldrT="[Texte]" custT="1"/>
      <dgm:spPr/>
      <dgm:t>
        <a:bodyPr/>
        <a:lstStyle/>
        <a:p>
          <a:r>
            <a:rPr lang="fr-FR" sz="1600" b="1" dirty="0"/>
            <a:t>Comment réussir la réalisation du projet ?</a:t>
          </a:r>
        </a:p>
        <a:p>
          <a:r>
            <a:rPr lang="fr-FR" sz="1600" dirty="0"/>
            <a:t>2 -  Du lancement du projet… à la réalisation de la FOAD</a:t>
          </a:r>
        </a:p>
      </dgm:t>
    </dgm:pt>
    <dgm:pt modelId="{BFAF18E3-0975-43BB-AC47-FB8FDA1AD412}" type="parTrans" cxnId="{3FA59ED3-7982-429F-B2BC-6FD3ADB26811}">
      <dgm:prSet/>
      <dgm:spPr/>
      <dgm:t>
        <a:bodyPr/>
        <a:lstStyle/>
        <a:p>
          <a:endParaRPr lang="fr-FR"/>
        </a:p>
      </dgm:t>
    </dgm:pt>
    <dgm:pt modelId="{AE74396F-F1F9-4E4E-A29C-3796F7474B8C}" type="sibTrans" cxnId="{3FA59ED3-7982-429F-B2BC-6FD3ADB26811}">
      <dgm:prSet/>
      <dgm:spPr/>
      <dgm:t>
        <a:bodyPr/>
        <a:lstStyle/>
        <a:p>
          <a:endParaRPr lang="fr-FR"/>
        </a:p>
      </dgm:t>
    </dgm:pt>
    <dgm:pt modelId="{FB06D8D8-B452-4EBE-B276-520EA0376ED1}" type="pres">
      <dgm:prSet presAssocID="{D7208953-506D-4592-A675-EECDF304E31A}" presName="compositeShape" presStyleCnt="0">
        <dgm:presLayoutVars>
          <dgm:dir/>
          <dgm:resizeHandles/>
        </dgm:presLayoutVars>
      </dgm:prSet>
      <dgm:spPr/>
    </dgm:pt>
    <dgm:pt modelId="{44592796-0394-4D43-9DE7-CFC5C89F1C98}" type="pres">
      <dgm:prSet presAssocID="{D7208953-506D-4592-A675-EECDF304E31A}" presName="pyramid" presStyleLbl="node1" presStyleIdx="0" presStyleCnt="1" custAng="10800000"/>
      <dgm:spPr/>
    </dgm:pt>
    <dgm:pt modelId="{A8F776B8-F8A2-4240-AC87-564DF0E2CA27}" type="pres">
      <dgm:prSet presAssocID="{D7208953-506D-4592-A675-EECDF304E31A}" presName="theList" presStyleCnt="0"/>
      <dgm:spPr/>
    </dgm:pt>
    <dgm:pt modelId="{13CC4719-6978-4E65-A9A1-0DAA46BDA04E}" type="pres">
      <dgm:prSet presAssocID="{376ECFA1-9D32-4A15-AF55-D08237D8B340}" presName="aNode" presStyleLbl="fgAcc1" presStyleIdx="0" presStyleCnt="2" custScaleX="490767" custScaleY="233977">
        <dgm:presLayoutVars>
          <dgm:bulletEnabled val="1"/>
        </dgm:presLayoutVars>
      </dgm:prSet>
      <dgm:spPr/>
    </dgm:pt>
    <dgm:pt modelId="{D4C5A0FB-BF46-41B9-AE88-2E539B893357}" type="pres">
      <dgm:prSet presAssocID="{376ECFA1-9D32-4A15-AF55-D08237D8B340}" presName="aSpace" presStyleCnt="0"/>
      <dgm:spPr/>
    </dgm:pt>
    <dgm:pt modelId="{8837D44C-158D-4489-B3DC-255383D9FB43}" type="pres">
      <dgm:prSet presAssocID="{D4554A8B-35EB-4313-AF83-4C4F2D6C189E}" presName="aNode" presStyleLbl="fgAcc1" presStyleIdx="1" presStyleCnt="2" custScaleX="490767" custScaleY="244766">
        <dgm:presLayoutVars>
          <dgm:bulletEnabled val="1"/>
        </dgm:presLayoutVars>
      </dgm:prSet>
      <dgm:spPr/>
    </dgm:pt>
    <dgm:pt modelId="{19C0CC0C-5A1F-47EC-B00E-F54AFC87B37B}" type="pres">
      <dgm:prSet presAssocID="{D4554A8B-35EB-4313-AF83-4C4F2D6C189E}" presName="aSpace" presStyleCnt="0"/>
      <dgm:spPr/>
    </dgm:pt>
  </dgm:ptLst>
  <dgm:cxnLst>
    <dgm:cxn modelId="{BD750707-F516-4485-9810-557949C7AB5D}" type="presOf" srcId="{376ECFA1-9D32-4A15-AF55-D08237D8B340}" destId="{13CC4719-6978-4E65-A9A1-0DAA46BDA04E}" srcOrd="0" destOrd="0" presId="urn:microsoft.com/office/officeart/2005/8/layout/pyramid2"/>
    <dgm:cxn modelId="{F69B105A-97F5-497C-AA44-CD599AC0EFA0}" type="presOf" srcId="{D4554A8B-35EB-4313-AF83-4C4F2D6C189E}" destId="{8837D44C-158D-4489-B3DC-255383D9FB43}" srcOrd="0" destOrd="0" presId="urn:microsoft.com/office/officeart/2005/8/layout/pyramid2"/>
    <dgm:cxn modelId="{5A184E7A-C96B-4FB3-9BCD-7B27DF425B80}" type="presOf" srcId="{D7208953-506D-4592-A675-EECDF304E31A}" destId="{FB06D8D8-B452-4EBE-B276-520EA0376ED1}" srcOrd="0" destOrd="0" presId="urn:microsoft.com/office/officeart/2005/8/layout/pyramid2"/>
    <dgm:cxn modelId="{A805E48C-A504-4904-B908-EAEBA8E94077}" srcId="{D7208953-506D-4592-A675-EECDF304E31A}" destId="{376ECFA1-9D32-4A15-AF55-D08237D8B340}" srcOrd="0" destOrd="0" parTransId="{ABE8700A-F641-4236-BFAA-D5B08059AAC9}" sibTransId="{614467E1-344A-4131-8CC8-C6B473515BEA}"/>
    <dgm:cxn modelId="{3FA59ED3-7982-429F-B2BC-6FD3ADB26811}" srcId="{D7208953-506D-4592-A675-EECDF304E31A}" destId="{D4554A8B-35EB-4313-AF83-4C4F2D6C189E}" srcOrd="1" destOrd="0" parTransId="{BFAF18E3-0975-43BB-AC47-FB8FDA1AD412}" sibTransId="{AE74396F-F1F9-4E4E-A29C-3796F7474B8C}"/>
    <dgm:cxn modelId="{65F27017-3251-4385-849F-7E475FA65454}" type="presParOf" srcId="{FB06D8D8-B452-4EBE-B276-520EA0376ED1}" destId="{44592796-0394-4D43-9DE7-CFC5C89F1C98}" srcOrd="0" destOrd="0" presId="urn:microsoft.com/office/officeart/2005/8/layout/pyramid2"/>
    <dgm:cxn modelId="{F0A438FE-F3EA-4907-B758-2E72BE5112DE}" type="presParOf" srcId="{FB06D8D8-B452-4EBE-B276-520EA0376ED1}" destId="{A8F776B8-F8A2-4240-AC87-564DF0E2CA27}" srcOrd="1" destOrd="0" presId="urn:microsoft.com/office/officeart/2005/8/layout/pyramid2"/>
    <dgm:cxn modelId="{EA6A9BAF-C935-4AB1-B664-CA7FE1DD56A2}" type="presParOf" srcId="{A8F776B8-F8A2-4240-AC87-564DF0E2CA27}" destId="{13CC4719-6978-4E65-A9A1-0DAA46BDA04E}" srcOrd="0" destOrd="0" presId="urn:microsoft.com/office/officeart/2005/8/layout/pyramid2"/>
    <dgm:cxn modelId="{EC4D01A4-95AF-48CB-BE0F-8D249A11EE54}" type="presParOf" srcId="{A8F776B8-F8A2-4240-AC87-564DF0E2CA27}" destId="{D4C5A0FB-BF46-41B9-AE88-2E539B893357}" srcOrd="1" destOrd="0" presId="urn:microsoft.com/office/officeart/2005/8/layout/pyramid2"/>
    <dgm:cxn modelId="{41D23263-78C6-4C6D-91B2-1AE639586917}" type="presParOf" srcId="{A8F776B8-F8A2-4240-AC87-564DF0E2CA27}" destId="{8837D44C-158D-4489-B3DC-255383D9FB43}" srcOrd="2" destOrd="0" presId="urn:microsoft.com/office/officeart/2005/8/layout/pyramid2"/>
    <dgm:cxn modelId="{53B3222C-FE75-46B1-9209-E36673568320}" type="presParOf" srcId="{A8F776B8-F8A2-4240-AC87-564DF0E2CA27}" destId="{19C0CC0C-5A1F-47EC-B00E-F54AFC87B37B}" srcOrd="3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CD9DEC3-3233-4C40-969B-1A268F8CB438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3291625-CC31-4B7C-8721-6E3845D4C13C}">
      <dgm:prSet phldrT="[Texte]"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Embarquer les agents du Pôle Ministériel sur la  plateforme de formation à distance Mentor  </a:t>
          </a:r>
          <a:endParaRPr lang="fr-FR" dirty="0">
            <a:solidFill>
              <a:schemeClr val="bg1"/>
            </a:solidFill>
          </a:endParaRPr>
        </a:p>
      </dgm:t>
    </dgm:pt>
    <dgm:pt modelId="{233F9754-24FE-47B5-B903-580F37DD619F}" type="parTrans" cxnId="{F47F256E-44D3-4BC9-9011-4B8B2884C1EA}">
      <dgm:prSet/>
      <dgm:spPr/>
      <dgm:t>
        <a:bodyPr/>
        <a:lstStyle/>
        <a:p>
          <a:endParaRPr lang="fr-FR"/>
        </a:p>
      </dgm:t>
    </dgm:pt>
    <dgm:pt modelId="{A099020A-7C62-41E0-9A8A-9F739717A6A2}" type="sibTrans" cxnId="{F47F256E-44D3-4BC9-9011-4B8B2884C1EA}">
      <dgm:prSet/>
      <dgm:spPr/>
      <dgm:t>
        <a:bodyPr/>
        <a:lstStyle/>
        <a:p>
          <a:endParaRPr lang="fr-FR"/>
        </a:p>
      </dgm:t>
    </dgm:pt>
    <dgm:pt modelId="{677AB7D6-9C5F-408F-8B30-66C87C6A1C59}">
      <dgm:prSet phldrT="[Texte]"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Alimenter la collection Transition Ecologique et Développement Durable (TEDD) sur Mentor en interministériel</a:t>
          </a:r>
          <a:endParaRPr lang="fr-FR" dirty="0">
            <a:solidFill>
              <a:schemeClr val="bg1"/>
            </a:solidFill>
          </a:endParaRPr>
        </a:p>
      </dgm:t>
    </dgm:pt>
    <dgm:pt modelId="{6D99298C-65A1-4F59-B86B-919716965E58}" type="parTrans" cxnId="{FAE289AE-CC62-4F5B-AB07-7085E18AB4A8}">
      <dgm:prSet/>
      <dgm:spPr/>
      <dgm:t>
        <a:bodyPr/>
        <a:lstStyle/>
        <a:p>
          <a:endParaRPr lang="fr-FR"/>
        </a:p>
      </dgm:t>
    </dgm:pt>
    <dgm:pt modelId="{5377848A-B8B1-4ABB-B7D8-77667342E693}" type="sibTrans" cxnId="{FAE289AE-CC62-4F5B-AB07-7085E18AB4A8}">
      <dgm:prSet/>
      <dgm:spPr/>
      <dgm:t>
        <a:bodyPr/>
        <a:lstStyle/>
        <a:p>
          <a:endParaRPr lang="fr-FR"/>
        </a:p>
      </dgm:t>
    </dgm:pt>
    <dgm:pt modelId="{7C699332-1459-4501-B047-8A73C5800612}">
      <dgm:prSet phldrT="[Texte]"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Digitaliser les formations « métier » du Pôle Ministériel</a:t>
          </a:r>
          <a:endParaRPr lang="fr-FR" dirty="0">
            <a:solidFill>
              <a:schemeClr val="bg1"/>
            </a:solidFill>
          </a:endParaRPr>
        </a:p>
      </dgm:t>
    </dgm:pt>
    <dgm:pt modelId="{D593E5F5-4921-488C-93A6-CD17E2BA2F89}" type="parTrans" cxnId="{2F24B97B-64FC-45B7-94E6-8D07EB9AB410}">
      <dgm:prSet/>
      <dgm:spPr/>
      <dgm:t>
        <a:bodyPr/>
        <a:lstStyle/>
        <a:p>
          <a:endParaRPr lang="fr-FR"/>
        </a:p>
      </dgm:t>
    </dgm:pt>
    <dgm:pt modelId="{CE84F649-F54D-43F8-ABD6-FB862C4C034A}" type="sibTrans" cxnId="{2F24B97B-64FC-45B7-94E6-8D07EB9AB410}">
      <dgm:prSet/>
      <dgm:spPr/>
      <dgm:t>
        <a:bodyPr/>
        <a:lstStyle/>
        <a:p>
          <a:endParaRPr lang="fr-FR"/>
        </a:p>
      </dgm:t>
    </dgm:pt>
    <dgm:pt modelId="{F46A87FF-9C65-4157-A831-F52B9C88F9D7}">
      <dgm:prSet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Savoir concevoir une formation à distance</a:t>
          </a:r>
          <a:endParaRPr lang="fr-FR" dirty="0">
            <a:solidFill>
              <a:schemeClr val="bg1"/>
            </a:solidFill>
          </a:endParaRPr>
        </a:p>
      </dgm:t>
    </dgm:pt>
    <dgm:pt modelId="{2E6BE2C3-7F43-47C9-BD0C-FCB83F7DE6C6}" type="parTrans" cxnId="{FADAEE8C-C640-4004-A03C-AFA20E788E77}">
      <dgm:prSet/>
      <dgm:spPr/>
      <dgm:t>
        <a:bodyPr/>
        <a:lstStyle/>
        <a:p>
          <a:endParaRPr lang="fr-FR"/>
        </a:p>
      </dgm:t>
    </dgm:pt>
    <dgm:pt modelId="{DC38EC75-CE0B-46CD-AF2A-FC50AA45B2A0}" type="sibTrans" cxnId="{FADAEE8C-C640-4004-A03C-AFA20E788E77}">
      <dgm:prSet/>
      <dgm:spPr/>
      <dgm:t>
        <a:bodyPr/>
        <a:lstStyle/>
        <a:p>
          <a:endParaRPr lang="fr-FR"/>
        </a:p>
      </dgm:t>
    </dgm:pt>
    <dgm:pt modelId="{F7B3A9FA-EA32-47FD-B0DD-EC277200B5C8}">
      <dgm:prSet/>
      <dgm:spPr/>
      <dgm:t>
        <a:bodyPr/>
        <a:lstStyle/>
        <a:p>
          <a:endParaRPr lang="fr-FR" dirty="0"/>
        </a:p>
      </dgm:t>
    </dgm:pt>
    <dgm:pt modelId="{D4A98FD2-AC96-43FC-B4F8-A2DF13BB17D1}" type="parTrans" cxnId="{29CAD43D-EA5D-4DA4-A7EB-9719A49537D9}">
      <dgm:prSet/>
      <dgm:spPr/>
      <dgm:t>
        <a:bodyPr/>
        <a:lstStyle/>
        <a:p>
          <a:endParaRPr lang="fr-FR"/>
        </a:p>
      </dgm:t>
    </dgm:pt>
    <dgm:pt modelId="{6639656B-470D-4764-87CC-6C78398A2A30}" type="sibTrans" cxnId="{29CAD43D-EA5D-4DA4-A7EB-9719A49537D9}">
      <dgm:prSet/>
      <dgm:spPr/>
      <dgm:t>
        <a:bodyPr/>
        <a:lstStyle/>
        <a:p>
          <a:endParaRPr lang="fr-FR"/>
        </a:p>
      </dgm:t>
    </dgm:pt>
    <dgm:pt modelId="{CFF42844-F3AF-43D0-BE97-C4B47E3AD33C}">
      <dgm:prSet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Constituer et animer la communauté ministérielle Mentor</a:t>
          </a:r>
        </a:p>
      </dgm:t>
    </dgm:pt>
    <dgm:pt modelId="{FC606658-D680-40C6-B792-0A85891901DE}" type="parTrans" cxnId="{66E30FFC-4654-4F4F-9E34-D9E0FD102F43}">
      <dgm:prSet/>
      <dgm:spPr/>
      <dgm:t>
        <a:bodyPr/>
        <a:lstStyle/>
        <a:p>
          <a:endParaRPr lang="fr-FR"/>
        </a:p>
      </dgm:t>
    </dgm:pt>
    <dgm:pt modelId="{2E99A457-6B85-4580-94BD-F3016ECB1BCC}" type="sibTrans" cxnId="{66E30FFC-4654-4F4F-9E34-D9E0FD102F43}">
      <dgm:prSet/>
      <dgm:spPr/>
      <dgm:t>
        <a:bodyPr/>
        <a:lstStyle/>
        <a:p>
          <a:endParaRPr lang="fr-FR"/>
        </a:p>
      </dgm:t>
    </dgm:pt>
    <dgm:pt modelId="{44C5993A-44DA-4E5F-9517-DD3DC10DAD2A}">
      <dgm:prSet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Participer à la communauté interministérielle Mentor</a:t>
          </a:r>
        </a:p>
      </dgm:t>
    </dgm:pt>
    <dgm:pt modelId="{105D16E2-C391-413D-A567-CFD9B8C14348}" type="parTrans" cxnId="{BB118E3B-6BDD-48B1-9807-660BB165CBED}">
      <dgm:prSet/>
      <dgm:spPr/>
      <dgm:t>
        <a:bodyPr/>
        <a:lstStyle/>
        <a:p>
          <a:endParaRPr lang="fr-FR"/>
        </a:p>
      </dgm:t>
    </dgm:pt>
    <dgm:pt modelId="{AE5B40C5-7600-4EE4-8873-6A186CDDA1F5}" type="sibTrans" cxnId="{BB118E3B-6BDD-48B1-9807-660BB165CBED}">
      <dgm:prSet/>
      <dgm:spPr/>
      <dgm:t>
        <a:bodyPr/>
        <a:lstStyle/>
        <a:p>
          <a:endParaRPr lang="fr-FR"/>
        </a:p>
      </dgm:t>
    </dgm:pt>
    <dgm:pt modelId="{FCA5CC16-688C-43DB-979D-F39FB6FA9113}">
      <dgm:prSet/>
      <dgm:spPr/>
      <dgm:t>
        <a:bodyPr/>
        <a:lstStyle/>
        <a:p>
          <a:r>
            <a:rPr lang="fr-FR" b="0" baseline="0" dirty="0">
              <a:solidFill>
                <a:schemeClr val="bg1"/>
              </a:solidFill>
            </a:rPr>
            <a:t>Mettre en œuvre une formation sur Mentor</a:t>
          </a:r>
        </a:p>
      </dgm:t>
    </dgm:pt>
    <dgm:pt modelId="{C196ECC6-001F-4570-9A37-49F5F7EEC103}" type="parTrans" cxnId="{1D59F7F2-CC98-4780-B405-2E389964CB1F}">
      <dgm:prSet/>
      <dgm:spPr/>
      <dgm:t>
        <a:bodyPr/>
        <a:lstStyle/>
        <a:p>
          <a:endParaRPr lang="fr-FR"/>
        </a:p>
      </dgm:t>
    </dgm:pt>
    <dgm:pt modelId="{53FD90D2-BF1E-47AF-A2E6-059860F33D14}" type="sibTrans" cxnId="{1D59F7F2-CC98-4780-B405-2E389964CB1F}">
      <dgm:prSet/>
      <dgm:spPr/>
      <dgm:t>
        <a:bodyPr/>
        <a:lstStyle/>
        <a:p>
          <a:endParaRPr lang="fr-FR"/>
        </a:p>
      </dgm:t>
    </dgm:pt>
    <dgm:pt modelId="{2F05D05C-3858-4E53-955D-9C8CC2C73DD8}">
      <dgm:prSet/>
      <dgm:spPr/>
      <dgm:t>
        <a:bodyPr/>
        <a:lstStyle/>
        <a:p>
          <a:endParaRPr lang="fr-FR"/>
        </a:p>
      </dgm:t>
    </dgm:pt>
    <dgm:pt modelId="{7ED1BC15-F86D-459C-B58A-7E77CBFEB5F4}" type="parTrans" cxnId="{A863D693-64F6-4371-BE22-2DAB0A29360F}">
      <dgm:prSet/>
      <dgm:spPr/>
      <dgm:t>
        <a:bodyPr/>
        <a:lstStyle/>
        <a:p>
          <a:endParaRPr lang="fr-FR"/>
        </a:p>
      </dgm:t>
    </dgm:pt>
    <dgm:pt modelId="{F503B14A-97C2-4E23-99D5-814922E76E8E}" type="sibTrans" cxnId="{A863D693-64F6-4371-BE22-2DAB0A29360F}">
      <dgm:prSet/>
      <dgm:spPr/>
      <dgm:t>
        <a:bodyPr/>
        <a:lstStyle/>
        <a:p>
          <a:endParaRPr lang="fr-FR"/>
        </a:p>
      </dgm:t>
    </dgm:pt>
    <dgm:pt modelId="{E69462AC-402D-431D-91BF-9C10092CD44A}">
      <dgm:prSet/>
      <dgm:spPr/>
      <dgm:t>
        <a:bodyPr/>
        <a:lstStyle/>
        <a:p>
          <a:endParaRPr lang="fr-FR" dirty="0"/>
        </a:p>
      </dgm:t>
    </dgm:pt>
    <dgm:pt modelId="{156DD294-E21F-4025-B946-70BC37DA80B4}" type="parTrans" cxnId="{D773AF33-163F-4C34-8CAB-D9ED84CD80A5}">
      <dgm:prSet/>
      <dgm:spPr/>
      <dgm:t>
        <a:bodyPr/>
        <a:lstStyle/>
        <a:p>
          <a:endParaRPr lang="fr-FR"/>
        </a:p>
      </dgm:t>
    </dgm:pt>
    <dgm:pt modelId="{3BC2762C-13E2-474F-B03F-7748F7EE8DD8}" type="sibTrans" cxnId="{D773AF33-163F-4C34-8CAB-D9ED84CD80A5}">
      <dgm:prSet/>
      <dgm:spPr/>
      <dgm:t>
        <a:bodyPr/>
        <a:lstStyle/>
        <a:p>
          <a:endParaRPr lang="fr-FR"/>
        </a:p>
      </dgm:t>
    </dgm:pt>
    <dgm:pt modelId="{0AF34C99-6FC6-4D2E-9C77-390E59F2E25B}">
      <dgm:prSet/>
      <dgm:spPr/>
      <dgm:t>
        <a:bodyPr/>
        <a:lstStyle/>
        <a:p>
          <a:endParaRPr lang="fr-FR"/>
        </a:p>
      </dgm:t>
    </dgm:pt>
    <dgm:pt modelId="{E57A2C19-75B7-4410-AFCF-D132D629E2AB}" type="parTrans" cxnId="{18F69FFE-A32E-4AC9-BD6E-8B066B76D69B}">
      <dgm:prSet/>
      <dgm:spPr/>
      <dgm:t>
        <a:bodyPr/>
        <a:lstStyle/>
        <a:p>
          <a:endParaRPr lang="fr-FR"/>
        </a:p>
      </dgm:t>
    </dgm:pt>
    <dgm:pt modelId="{9D6D6264-DC8D-46AA-AB06-EF306467268E}" type="sibTrans" cxnId="{18F69FFE-A32E-4AC9-BD6E-8B066B76D69B}">
      <dgm:prSet/>
      <dgm:spPr/>
      <dgm:t>
        <a:bodyPr/>
        <a:lstStyle/>
        <a:p>
          <a:endParaRPr lang="fr-FR"/>
        </a:p>
      </dgm:t>
    </dgm:pt>
    <dgm:pt modelId="{6462E2C0-F128-4295-8C81-7250409C8CEE}" type="pres">
      <dgm:prSet presAssocID="{ACD9DEC3-3233-4C40-969B-1A268F8CB438}" presName="Name0" presStyleCnt="0">
        <dgm:presLayoutVars>
          <dgm:chMax val="7"/>
          <dgm:chPref val="7"/>
          <dgm:dir/>
        </dgm:presLayoutVars>
      </dgm:prSet>
      <dgm:spPr/>
    </dgm:pt>
    <dgm:pt modelId="{0D0A5DE8-7AFD-4DE9-8D27-304CFDD85842}" type="pres">
      <dgm:prSet presAssocID="{ACD9DEC3-3233-4C40-969B-1A268F8CB438}" presName="Name1" presStyleCnt="0"/>
      <dgm:spPr/>
    </dgm:pt>
    <dgm:pt modelId="{F2B11032-C999-4BA4-808B-7B688570EF70}" type="pres">
      <dgm:prSet presAssocID="{ACD9DEC3-3233-4C40-969B-1A268F8CB438}" presName="cycle" presStyleCnt="0"/>
      <dgm:spPr/>
    </dgm:pt>
    <dgm:pt modelId="{768E4F31-29E4-46F5-B7EA-F0463BC01A97}" type="pres">
      <dgm:prSet presAssocID="{ACD9DEC3-3233-4C40-969B-1A268F8CB438}" presName="srcNode" presStyleLbl="node1" presStyleIdx="0" presStyleCnt="7"/>
      <dgm:spPr/>
    </dgm:pt>
    <dgm:pt modelId="{AFA2F6A9-0722-49D0-A7ED-50C53D4BEA16}" type="pres">
      <dgm:prSet presAssocID="{ACD9DEC3-3233-4C40-969B-1A268F8CB438}" presName="conn" presStyleLbl="parChTrans1D2" presStyleIdx="0" presStyleCnt="1"/>
      <dgm:spPr/>
    </dgm:pt>
    <dgm:pt modelId="{BFBE39B5-4360-44AB-ABD8-ACAAA5E6E1DD}" type="pres">
      <dgm:prSet presAssocID="{ACD9DEC3-3233-4C40-969B-1A268F8CB438}" presName="extraNode" presStyleLbl="node1" presStyleIdx="0" presStyleCnt="7"/>
      <dgm:spPr/>
    </dgm:pt>
    <dgm:pt modelId="{8661F3CB-C880-4156-98C0-30FAECEFA152}" type="pres">
      <dgm:prSet presAssocID="{ACD9DEC3-3233-4C40-969B-1A268F8CB438}" presName="dstNode" presStyleLbl="node1" presStyleIdx="0" presStyleCnt="7"/>
      <dgm:spPr/>
    </dgm:pt>
    <dgm:pt modelId="{8D0F34F5-8C68-4538-86BF-C80E8580F61D}" type="pres">
      <dgm:prSet presAssocID="{C3291625-CC31-4B7C-8721-6E3845D4C13C}" presName="text_1" presStyleLbl="node1" presStyleIdx="0" presStyleCnt="7">
        <dgm:presLayoutVars>
          <dgm:bulletEnabled val="1"/>
        </dgm:presLayoutVars>
      </dgm:prSet>
      <dgm:spPr/>
    </dgm:pt>
    <dgm:pt modelId="{6E0A9A0F-8355-421B-96E6-FA93D595F0EC}" type="pres">
      <dgm:prSet presAssocID="{C3291625-CC31-4B7C-8721-6E3845D4C13C}" presName="accent_1" presStyleCnt="0"/>
      <dgm:spPr/>
    </dgm:pt>
    <dgm:pt modelId="{83F476D5-28A9-48DD-AB23-19856721850F}" type="pres">
      <dgm:prSet presAssocID="{C3291625-CC31-4B7C-8721-6E3845D4C13C}" presName="accentRepeatNode" presStyleLbl="solidFgAcc1" presStyleIdx="0" presStyleCnt="7"/>
      <dgm:spPr/>
    </dgm:pt>
    <dgm:pt modelId="{68AFAEFF-0754-474E-A96A-15909E2C66A5}" type="pres">
      <dgm:prSet presAssocID="{677AB7D6-9C5F-408F-8B30-66C87C6A1C59}" presName="text_2" presStyleLbl="node1" presStyleIdx="1" presStyleCnt="7">
        <dgm:presLayoutVars>
          <dgm:bulletEnabled val="1"/>
        </dgm:presLayoutVars>
      </dgm:prSet>
      <dgm:spPr/>
    </dgm:pt>
    <dgm:pt modelId="{09BAED3B-BF18-4370-A8AE-C24113FCC9C0}" type="pres">
      <dgm:prSet presAssocID="{677AB7D6-9C5F-408F-8B30-66C87C6A1C59}" presName="accent_2" presStyleCnt="0"/>
      <dgm:spPr/>
    </dgm:pt>
    <dgm:pt modelId="{C7CBAA5B-B5CC-47BC-9AF2-2735C8F3C671}" type="pres">
      <dgm:prSet presAssocID="{677AB7D6-9C5F-408F-8B30-66C87C6A1C59}" presName="accentRepeatNode" presStyleLbl="solidFgAcc1" presStyleIdx="1" presStyleCnt="7"/>
      <dgm:spPr/>
    </dgm:pt>
    <dgm:pt modelId="{CBF15120-A008-4AB4-A181-7BF87C3DC196}" type="pres">
      <dgm:prSet presAssocID="{7C699332-1459-4501-B047-8A73C5800612}" presName="text_3" presStyleLbl="node1" presStyleIdx="2" presStyleCnt="7">
        <dgm:presLayoutVars>
          <dgm:bulletEnabled val="1"/>
        </dgm:presLayoutVars>
      </dgm:prSet>
      <dgm:spPr/>
    </dgm:pt>
    <dgm:pt modelId="{C996A7B6-B387-42F3-8838-DB219977917E}" type="pres">
      <dgm:prSet presAssocID="{7C699332-1459-4501-B047-8A73C5800612}" presName="accent_3" presStyleCnt="0"/>
      <dgm:spPr/>
    </dgm:pt>
    <dgm:pt modelId="{F113C8B3-829A-4DF3-BDB3-45597BB3F0B2}" type="pres">
      <dgm:prSet presAssocID="{7C699332-1459-4501-B047-8A73C5800612}" presName="accentRepeatNode" presStyleLbl="solidFgAcc1" presStyleIdx="2" presStyleCnt="7"/>
      <dgm:spPr/>
    </dgm:pt>
    <dgm:pt modelId="{296650F9-6B9F-4ABF-AE85-92D8E1EB1BC0}" type="pres">
      <dgm:prSet presAssocID="{44C5993A-44DA-4E5F-9517-DD3DC10DAD2A}" presName="text_4" presStyleLbl="node1" presStyleIdx="3" presStyleCnt="7">
        <dgm:presLayoutVars>
          <dgm:bulletEnabled val="1"/>
        </dgm:presLayoutVars>
      </dgm:prSet>
      <dgm:spPr/>
    </dgm:pt>
    <dgm:pt modelId="{4103140D-35B6-4CC0-BF7F-C243F3E4C54D}" type="pres">
      <dgm:prSet presAssocID="{44C5993A-44DA-4E5F-9517-DD3DC10DAD2A}" presName="accent_4" presStyleCnt="0"/>
      <dgm:spPr/>
    </dgm:pt>
    <dgm:pt modelId="{C4932C2A-8310-48D3-898A-1252C21057DA}" type="pres">
      <dgm:prSet presAssocID="{44C5993A-44DA-4E5F-9517-DD3DC10DAD2A}" presName="accentRepeatNode" presStyleLbl="solidFgAcc1" presStyleIdx="3" presStyleCnt="7"/>
      <dgm:spPr/>
    </dgm:pt>
    <dgm:pt modelId="{9A1BA588-DBA7-41B4-BBC5-A96A68A9104D}" type="pres">
      <dgm:prSet presAssocID="{CFF42844-F3AF-43D0-BE97-C4B47E3AD33C}" presName="text_5" presStyleLbl="node1" presStyleIdx="4" presStyleCnt="7">
        <dgm:presLayoutVars>
          <dgm:bulletEnabled val="1"/>
        </dgm:presLayoutVars>
      </dgm:prSet>
      <dgm:spPr/>
    </dgm:pt>
    <dgm:pt modelId="{F9B34139-E85C-4460-B1A9-4625F02D18A1}" type="pres">
      <dgm:prSet presAssocID="{CFF42844-F3AF-43D0-BE97-C4B47E3AD33C}" presName="accent_5" presStyleCnt="0"/>
      <dgm:spPr/>
    </dgm:pt>
    <dgm:pt modelId="{2BE94C87-DEFC-43C5-85F3-1EAE8CD6D36B}" type="pres">
      <dgm:prSet presAssocID="{CFF42844-F3AF-43D0-BE97-C4B47E3AD33C}" presName="accentRepeatNode" presStyleLbl="solidFgAcc1" presStyleIdx="4" presStyleCnt="7"/>
      <dgm:spPr/>
    </dgm:pt>
    <dgm:pt modelId="{4C43DEAF-3669-447C-BB76-C3B7F0F6962C}" type="pres">
      <dgm:prSet presAssocID="{F46A87FF-9C65-4157-A831-F52B9C88F9D7}" presName="text_6" presStyleLbl="node1" presStyleIdx="5" presStyleCnt="7">
        <dgm:presLayoutVars>
          <dgm:bulletEnabled val="1"/>
        </dgm:presLayoutVars>
      </dgm:prSet>
      <dgm:spPr/>
    </dgm:pt>
    <dgm:pt modelId="{6D730CAA-3BDF-400A-BAAF-11B1EA66A5BE}" type="pres">
      <dgm:prSet presAssocID="{F46A87FF-9C65-4157-A831-F52B9C88F9D7}" presName="accent_6" presStyleCnt="0"/>
      <dgm:spPr/>
    </dgm:pt>
    <dgm:pt modelId="{F3265D31-21ED-4C21-8751-8097F78BAC72}" type="pres">
      <dgm:prSet presAssocID="{F46A87FF-9C65-4157-A831-F52B9C88F9D7}" presName="accentRepeatNode" presStyleLbl="solidFgAcc1" presStyleIdx="5" presStyleCnt="7"/>
      <dgm:spPr/>
    </dgm:pt>
    <dgm:pt modelId="{27F2996C-EBB3-491A-B10E-6D8E8E20B48B}" type="pres">
      <dgm:prSet presAssocID="{FCA5CC16-688C-43DB-979D-F39FB6FA9113}" presName="text_7" presStyleLbl="node1" presStyleIdx="6" presStyleCnt="7" custLinFactNeighborX="108" custLinFactNeighborY="10247">
        <dgm:presLayoutVars>
          <dgm:bulletEnabled val="1"/>
        </dgm:presLayoutVars>
      </dgm:prSet>
      <dgm:spPr/>
    </dgm:pt>
    <dgm:pt modelId="{8BE5EF37-A91E-4A54-9056-7232407B3E32}" type="pres">
      <dgm:prSet presAssocID="{FCA5CC16-688C-43DB-979D-F39FB6FA9113}" presName="accent_7" presStyleCnt="0"/>
      <dgm:spPr/>
    </dgm:pt>
    <dgm:pt modelId="{5A39F294-59F8-4F45-9247-E532A27A4AF3}" type="pres">
      <dgm:prSet presAssocID="{FCA5CC16-688C-43DB-979D-F39FB6FA9113}" presName="accentRepeatNode" presStyleLbl="solidFgAcc1" presStyleIdx="6" presStyleCnt="7"/>
      <dgm:spPr/>
    </dgm:pt>
  </dgm:ptLst>
  <dgm:cxnLst>
    <dgm:cxn modelId="{13473D2A-30AB-47B7-BE29-AE5E6077065C}" type="presOf" srcId="{C3291625-CC31-4B7C-8721-6E3845D4C13C}" destId="{8D0F34F5-8C68-4538-86BF-C80E8580F61D}" srcOrd="0" destOrd="0" presId="urn:microsoft.com/office/officeart/2008/layout/VerticalCurvedList"/>
    <dgm:cxn modelId="{D773AF33-163F-4C34-8CAB-D9ED84CD80A5}" srcId="{ACD9DEC3-3233-4C40-969B-1A268F8CB438}" destId="{E69462AC-402D-431D-91BF-9C10092CD44A}" srcOrd="10" destOrd="0" parTransId="{156DD294-E21F-4025-B946-70BC37DA80B4}" sibTransId="{3BC2762C-13E2-474F-B03F-7748F7EE8DD8}"/>
    <dgm:cxn modelId="{BB118E3B-6BDD-48B1-9807-660BB165CBED}" srcId="{ACD9DEC3-3233-4C40-969B-1A268F8CB438}" destId="{44C5993A-44DA-4E5F-9517-DD3DC10DAD2A}" srcOrd="3" destOrd="0" parTransId="{105D16E2-C391-413D-A567-CFD9B8C14348}" sibTransId="{AE5B40C5-7600-4EE4-8873-6A186CDDA1F5}"/>
    <dgm:cxn modelId="{29CAD43D-EA5D-4DA4-A7EB-9719A49537D9}" srcId="{ACD9DEC3-3233-4C40-969B-1A268F8CB438}" destId="{F7B3A9FA-EA32-47FD-B0DD-EC277200B5C8}" srcOrd="8" destOrd="0" parTransId="{D4A98FD2-AC96-43FC-B4F8-A2DF13BB17D1}" sibTransId="{6639656B-470D-4764-87CC-6C78398A2A30}"/>
    <dgm:cxn modelId="{F71B1748-6EE0-4328-95AC-0AF752CCC866}" type="presOf" srcId="{ACD9DEC3-3233-4C40-969B-1A268F8CB438}" destId="{6462E2C0-F128-4295-8C81-7250409C8CEE}" srcOrd="0" destOrd="0" presId="urn:microsoft.com/office/officeart/2008/layout/VerticalCurvedList"/>
    <dgm:cxn modelId="{F47F256E-44D3-4BC9-9011-4B8B2884C1EA}" srcId="{ACD9DEC3-3233-4C40-969B-1A268F8CB438}" destId="{C3291625-CC31-4B7C-8721-6E3845D4C13C}" srcOrd="0" destOrd="0" parTransId="{233F9754-24FE-47B5-B903-580F37DD619F}" sibTransId="{A099020A-7C62-41E0-9A8A-9F739717A6A2}"/>
    <dgm:cxn modelId="{0E638C4F-35EC-4D59-80B3-76903A1EDE7F}" type="presOf" srcId="{44C5993A-44DA-4E5F-9517-DD3DC10DAD2A}" destId="{296650F9-6B9F-4ABF-AE85-92D8E1EB1BC0}" srcOrd="0" destOrd="0" presId="urn:microsoft.com/office/officeart/2008/layout/VerticalCurvedList"/>
    <dgm:cxn modelId="{9AD42072-1886-4B71-A859-4017254D1156}" type="presOf" srcId="{CFF42844-F3AF-43D0-BE97-C4B47E3AD33C}" destId="{9A1BA588-DBA7-41B4-BBC5-A96A68A9104D}" srcOrd="0" destOrd="0" presId="urn:microsoft.com/office/officeart/2008/layout/VerticalCurvedList"/>
    <dgm:cxn modelId="{C0C69E5A-36DC-4815-835F-22E2961FF6D5}" type="presOf" srcId="{F46A87FF-9C65-4157-A831-F52B9C88F9D7}" destId="{4C43DEAF-3669-447C-BB76-C3B7F0F6962C}" srcOrd="0" destOrd="0" presId="urn:microsoft.com/office/officeart/2008/layout/VerticalCurvedList"/>
    <dgm:cxn modelId="{2F24B97B-64FC-45B7-94E6-8D07EB9AB410}" srcId="{ACD9DEC3-3233-4C40-969B-1A268F8CB438}" destId="{7C699332-1459-4501-B047-8A73C5800612}" srcOrd="2" destOrd="0" parTransId="{D593E5F5-4921-488C-93A6-CD17E2BA2F89}" sibTransId="{CE84F649-F54D-43F8-ABD6-FB862C4C034A}"/>
    <dgm:cxn modelId="{AF5FBD85-0A45-4387-9981-21800A1EDC26}" type="presOf" srcId="{FCA5CC16-688C-43DB-979D-F39FB6FA9113}" destId="{27F2996C-EBB3-491A-B10E-6D8E8E20B48B}" srcOrd="0" destOrd="0" presId="urn:microsoft.com/office/officeart/2008/layout/VerticalCurvedList"/>
    <dgm:cxn modelId="{FADAEE8C-C640-4004-A03C-AFA20E788E77}" srcId="{ACD9DEC3-3233-4C40-969B-1A268F8CB438}" destId="{F46A87FF-9C65-4157-A831-F52B9C88F9D7}" srcOrd="5" destOrd="0" parTransId="{2E6BE2C3-7F43-47C9-BD0C-FCB83F7DE6C6}" sibTransId="{DC38EC75-CE0B-46CD-AF2A-FC50AA45B2A0}"/>
    <dgm:cxn modelId="{56B70B8E-AA83-4D15-BFC4-59EF6F1117B8}" type="presOf" srcId="{A099020A-7C62-41E0-9A8A-9F739717A6A2}" destId="{AFA2F6A9-0722-49D0-A7ED-50C53D4BEA16}" srcOrd="0" destOrd="0" presId="urn:microsoft.com/office/officeart/2008/layout/VerticalCurvedList"/>
    <dgm:cxn modelId="{A863D693-64F6-4371-BE22-2DAB0A29360F}" srcId="{ACD9DEC3-3233-4C40-969B-1A268F8CB438}" destId="{2F05D05C-3858-4E53-955D-9C8CC2C73DD8}" srcOrd="9" destOrd="0" parTransId="{7ED1BC15-F86D-459C-B58A-7E77CBFEB5F4}" sibTransId="{F503B14A-97C2-4E23-99D5-814922E76E8E}"/>
    <dgm:cxn modelId="{13D9FC9C-CDC9-40BC-9C16-C0A970E55239}" type="presOf" srcId="{7C699332-1459-4501-B047-8A73C5800612}" destId="{CBF15120-A008-4AB4-A181-7BF87C3DC196}" srcOrd="0" destOrd="0" presId="urn:microsoft.com/office/officeart/2008/layout/VerticalCurvedList"/>
    <dgm:cxn modelId="{882E999E-C91A-43A9-B12C-60144C869328}" type="presOf" srcId="{677AB7D6-9C5F-408F-8B30-66C87C6A1C59}" destId="{68AFAEFF-0754-474E-A96A-15909E2C66A5}" srcOrd="0" destOrd="0" presId="urn:microsoft.com/office/officeart/2008/layout/VerticalCurvedList"/>
    <dgm:cxn modelId="{FAE289AE-CC62-4F5B-AB07-7085E18AB4A8}" srcId="{ACD9DEC3-3233-4C40-969B-1A268F8CB438}" destId="{677AB7D6-9C5F-408F-8B30-66C87C6A1C59}" srcOrd="1" destOrd="0" parTransId="{6D99298C-65A1-4F59-B86B-919716965E58}" sibTransId="{5377848A-B8B1-4ABB-B7D8-77667342E693}"/>
    <dgm:cxn modelId="{1D59F7F2-CC98-4780-B405-2E389964CB1F}" srcId="{ACD9DEC3-3233-4C40-969B-1A268F8CB438}" destId="{FCA5CC16-688C-43DB-979D-F39FB6FA9113}" srcOrd="6" destOrd="0" parTransId="{C196ECC6-001F-4570-9A37-49F5F7EEC103}" sibTransId="{53FD90D2-BF1E-47AF-A2E6-059860F33D14}"/>
    <dgm:cxn modelId="{66E30FFC-4654-4F4F-9E34-D9E0FD102F43}" srcId="{ACD9DEC3-3233-4C40-969B-1A268F8CB438}" destId="{CFF42844-F3AF-43D0-BE97-C4B47E3AD33C}" srcOrd="4" destOrd="0" parTransId="{FC606658-D680-40C6-B792-0A85891901DE}" sibTransId="{2E99A457-6B85-4580-94BD-F3016ECB1BCC}"/>
    <dgm:cxn modelId="{18F69FFE-A32E-4AC9-BD6E-8B066B76D69B}" srcId="{ACD9DEC3-3233-4C40-969B-1A268F8CB438}" destId="{0AF34C99-6FC6-4D2E-9C77-390E59F2E25B}" srcOrd="7" destOrd="0" parTransId="{E57A2C19-75B7-4410-AFCF-D132D629E2AB}" sibTransId="{9D6D6264-DC8D-46AA-AB06-EF306467268E}"/>
    <dgm:cxn modelId="{8B17D28A-6E47-4041-9A52-A60C0564F95F}" type="presParOf" srcId="{6462E2C0-F128-4295-8C81-7250409C8CEE}" destId="{0D0A5DE8-7AFD-4DE9-8D27-304CFDD85842}" srcOrd="0" destOrd="0" presId="urn:microsoft.com/office/officeart/2008/layout/VerticalCurvedList"/>
    <dgm:cxn modelId="{DC9A5AF8-7674-49A2-B6C3-6B0C61B9CDD4}" type="presParOf" srcId="{0D0A5DE8-7AFD-4DE9-8D27-304CFDD85842}" destId="{F2B11032-C999-4BA4-808B-7B688570EF70}" srcOrd="0" destOrd="0" presId="urn:microsoft.com/office/officeart/2008/layout/VerticalCurvedList"/>
    <dgm:cxn modelId="{AA0A2BC9-1E89-4401-A31A-6FAF9C10AA24}" type="presParOf" srcId="{F2B11032-C999-4BA4-808B-7B688570EF70}" destId="{768E4F31-29E4-46F5-B7EA-F0463BC01A97}" srcOrd="0" destOrd="0" presId="urn:microsoft.com/office/officeart/2008/layout/VerticalCurvedList"/>
    <dgm:cxn modelId="{A03E680E-6036-42D6-8B4B-88F63547A94D}" type="presParOf" srcId="{F2B11032-C999-4BA4-808B-7B688570EF70}" destId="{AFA2F6A9-0722-49D0-A7ED-50C53D4BEA16}" srcOrd="1" destOrd="0" presId="urn:microsoft.com/office/officeart/2008/layout/VerticalCurvedList"/>
    <dgm:cxn modelId="{583B6966-7EE3-4EC2-84D7-3E7F41839C8E}" type="presParOf" srcId="{F2B11032-C999-4BA4-808B-7B688570EF70}" destId="{BFBE39B5-4360-44AB-ABD8-ACAAA5E6E1DD}" srcOrd="2" destOrd="0" presId="urn:microsoft.com/office/officeart/2008/layout/VerticalCurvedList"/>
    <dgm:cxn modelId="{E61B5AD6-92D4-41C3-B9B0-3BB075C9C827}" type="presParOf" srcId="{F2B11032-C999-4BA4-808B-7B688570EF70}" destId="{8661F3CB-C880-4156-98C0-30FAECEFA152}" srcOrd="3" destOrd="0" presId="urn:microsoft.com/office/officeart/2008/layout/VerticalCurvedList"/>
    <dgm:cxn modelId="{AE96C4E8-91D5-45FF-9B03-F4815EEA5B27}" type="presParOf" srcId="{0D0A5DE8-7AFD-4DE9-8D27-304CFDD85842}" destId="{8D0F34F5-8C68-4538-86BF-C80E8580F61D}" srcOrd="1" destOrd="0" presId="urn:microsoft.com/office/officeart/2008/layout/VerticalCurvedList"/>
    <dgm:cxn modelId="{55506CBF-888A-4B0D-9E51-CBEF30849D40}" type="presParOf" srcId="{0D0A5DE8-7AFD-4DE9-8D27-304CFDD85842}" destId="{6E0A9A0F-8355-421B-96E6-FA93D595F0EC}" srcOrd="2" destOrd="0" presId="urn:microsoft.com/office/officeart/2008/layout/VerticalCurvedList"/>
    <dgm:cxn modelId="{26F7E848-563B-4850-9FCF-0FF1DB7EFF98}" type="presParOf" srcId="{6E0A9A0F-8355-421B-96E6-FA93D595F0EC}" destId="{83F476D5-28A9-48DD-AB23-19856721850F}" srcOrd="0" destOrd="0" presId="urn:microsoft.com/office/officeart/2008/layout/VerticalCurvedList"/>
    <dgm:cxn modelId="{9D0D9017-F3C2-410A-A255-F82284D94BE5}" type="presParOf" srcId="{0D0A5DE8-7AFD-4DE9-8D27-304CFDD85842}" destId="{68AFAEFF-0754-474E-A96A-15909E2C66A5}" srcOrd="3" destOrd="0" presId="urn:microsoft.com/office/officeart/2008/layout/VerticalCurvedList"/>
    <dgm:cxn modelId="{38C5BE46-45C7-460E-9F87-DABB610B1042}" type="presParOf" srcId="{0D0A5DE8-7AFD-4DE9-8D27-304CFDD85842}" destId="{09BAED3B-BF18-4370-A8AE-C24113FCC9C0}" srcOrd="4" destOrd="0" presId="urn:microsoft.com/office/officeart/2008/layout/VerticalCurvedList"/>
    <dgm:cxn modelId="{F1BF70A5-0B77-4DA6-924B-34435A9C3CCC}" type="presParOf" srcId="{09BAED3B-BF18-4370-A8AE-C24113FCC9C0}" destId="{C7CBAA5B-B5CC-47BC-9AF2-2735C8F3C671}" srcOrd="0" destOrd="0" presId="urn:microsoft.com/office/officeart/2008/layout/VerticalCurvedList"/>
    <dgm:cxn modelId="{DE054513-3480-486D-ABA2-901C8568FCB2}" type="presParOf" srcId="{0D0A5DE8-7AFD-4DE9-8D27-304CFDD85842}" destId="{CBF15120-A008-4AB4-A181-7BF87C3DC196}" srcOrd="5" destOrd="0" presId="urn:microsoft.com/office/officeart/2008/layout/VerticalCurvedList"/>
    <dgm:cxn modelId="{A6FACC76-6227-4D56-BC32-F9C5952123CD}" type="presParOf" srcId="{0D0A5DE8-7AFD-4DE9-8D27-304CFDD85842}" destId="{C996A7B6-B387-42F3-8838-DB219977917E}" srcOrd="6" destOrd="0" presId="urn:microsoft.com/office/officeart/2008/layout/VerticalCurvedList"/>
    <dgm:cxn modelId="{6D35CE5D-DF9F-482D-AC17-EB8B024AE6B6}" type="presParOf" srcId="{C996A7B6-B387-42F3-8838-DB219977917E}" destId="{F113C8B3-829A-4DF3-BDB3-45597BB3F0B2}" srcOrd="0" destOrd="0" presId="urn:microsoft.com/office/officeart/2008/layout/VerticalCurvedList"/>
    <dgm:cxn modelId="{F97FA4C9-843E-4147-98CB-5D0A40D95F4B}" type="presParOf" srcId="{0D0A5DE8-7AFD-4DE9-8D27-304CFDD85842}" destId="{296650F9-6B9F-4ABF-AE85-92D8E1EB1BC0}" srcOrd="7" destOrd="0" presId="urn:microsoft.com/office/officeart/2008/layout/VerticalCurvedList"/>
    <dgm:cxn modelId="{1E771693-6B61-49FB-BC16-6A1B98C8EDC5}" type="presParOf" srcId="{0D0A5DE8-7AFD-4DE9-8D27-304CFDD85842}" destId="{4103140D-35B6-4CC0-BF7F-C243F3E4C54D}" srcOrd="8" destOrd="0" presId="urn:microsoft.com/office/officeart/2008/layout/VerticalCurvedList"/>
    <dgm:cxn modelId="{3DE22B62-6E25-4DF2-842F-236C532201B2}" type="presParOf" srcId="{4103140D-35B6-4CC0-BF7F-C243F3E4C54D}" destId="{C4932C2A-8310-48D3-898A-1252C21057DA}" srcOrd="0" destOrd="0" presId="urn:microsoft.com/office/officeart/2008/layout/VerticalCurvedList"/>
    <dgm:cxn modelId="{E61F7EB1-A959-4537-BDFD-07F8F004CC4C}" type="presParOf" srcId="{0D0A5DE8-7AFD-4DE9-8D27-304CFDD85842}" destId="{9A1BA588-DBA7-41B4-BBC5-A96A68A9104D}" srcOrd="9" destOrd="0" presId="urn:microsoft.com/office/officeart/2008/layout/VerticalCurvedList"/>
    <dgm:cxn modelId="{E4CE13F4-E090-4B7E-B0DE-A44DE06D36F1}" type="presParOf" srcId="{0D0A5DE8-7AFD-4DE9-8D27-304CFDD85842}" destId="{F9B34139-E85C-4460-B1A9-4625F02D18A1}" srcOrd="10" destOrd="0" presId="urn:microsoft.com/office/officeart/2008/layout/VerticalCurvedList"/>
    <dgm:cxn modelId="{0CF4BA42-37DB-42F2-97C6-A49DC0F15981}" type="presParOf" srcId="{F9B34139-E85C-4460-B1A9-4625F02D18A1}" destId="{2BE94C87-DEFC-43C5-85F3-1EAE8CD6D36B}" srcOrd="0" destOrd="0" presId="urn:microsoft.com/office/officeart/2008/layout/VerticalCurvedList"/>
    <dgm:cxn modelId="{F6157E24-76B0-4DB3-A89E-E5DDF331B9F2}" type="presParOf" srcId="{0D0A5DE8-7AFD-4DE9-8D27-304CFDD85842}" destId="{4C43DEAF-3669-447C-BB76-C3B7F0F6962C}" srcOrd="11" destOrd="0" presId="urn:microsoft.com/office/officeart/2008/layout/VerticalCurvedList"/>
    <dgm:cxn modelId="{24A8D2B7-FFE7-4D16-841C-53F86557FD44}" type="presParOf" srcId="{0D0A5DE8-7AFD-4DE9-8D27-304CFDD85842}" destId="{6D730CAA-3BDF-400A-BAAF-11B1EA66A5BE}" srcOrd="12" destOrd="0" presId="urn:microsoft.com/office/officeart/2008/layout/VerticalCurvedList"/>
    <dgm:cxn modelId="{90022B52-B598-47E0-B8F2-34BC24B15DA8}" type="presParOf" srcId="{6D730CAA-3BDF-400A-BAAF-11B1EA66A5BE}" destId="{F3265D31-21ED-4C21-8751-8097F78BAC72}" srcOrd="0" destOrd="0" presId="urn:microsoft.com/office/officeart/2008/layout/VerticalCurvedList"/>
    <dgm:cxn modelId="{B247C599-197D-460E-A03E-92799B867990}" type="presParOf" srcId="{0D0A5DE8-7AFD-4DE9-8D27-304CFDD85842}" destId="{27F2996C-EBB3-491A-B10E-6D8E8E20B48B}" srcOrd="13" destOrd="0" presId="urn:microsoft.com/office/officeart/2008/layout/VerticalCurvedList"/>
    <dgm:cxn modelId="{F4347C8A-653C-4011-A96B-41DC0DD3426C}" type="presParOf" srcId="{0D0A5DE8-7AFD-4DE9-8D27-304CFDD85842}" destId="{8BE5EF37-A91E-4A54-9056-7232407B3E32}" srcOrd="14" destOrd="0" presId="urn:microsoft.com/office/officeart/2008/layout/VerticalCurvedList"/>
    <dgm:cxn modelId="{4698578C-8091-44B9-8839-DAA2ECA67495}" type="presParOf" srcId="{8BE5EF37-A91E-4A54-9056-7232407B3E32}" destId="{5A39F294-59F8-4F45-9247-E532A27A4AF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67753D1-EC7C-479A-945F-92316E7C45D8}" type="doc">
      <dgm:prSet loTypeId="urn:microsoft.com/office/officeart/2005/8/layout/radial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A0E97785-5CC2-4332-8719-CEF65496DA6F}">
      <dgm:prSet phldrT="[Texte]" custT="1"/>
      <dgm:spPr>
        <a:solidFill>
          <a:schemeClr val="accent1">
            <a:lumMod val="90000"/>
            <a:lumOff val="10000"/>
            <a:alpha val="50000"/>
          </a:schemeClr>
        </a:solidFill>
      </dgm:spPr>
      <dgm:t>
        <a:bodyPr/>
        <a:lstStyle/>
        <a:p>
          <a:r>
            <a:rPr lang="fr-FR" sz="3600" i="1" dirty="0"/>
            <a:t>CPF</a:t>
          </a:r>
        </a:p>
      </dgm:t>
    </dgm:pt>
    <dgm:pt modelId="{B84E99A4-D9F1-4152-8869-2ECF50CDEE1C}" type="parTrans" cxnId="{F289DEA7-C820-4407-8C46-7E1CEB9E2F9A}">
      <dgm:prSet/>
      <dgm:spPr/>
      <dgm:t>
        <a:bodyPr/>
        <a:lstStyle/>
        <a:p>
          <a:endParaRPr lang="fr-FR"/>
        </a:p>
      </dgm:t>
    </dgm:pt>
    <dgm:pt modelId="{1CA1ACEA-F8D0-4DFA-9513-2CB61C07CFF5}" type="sibTrans" cxnId="{F289DEA7-C820-4407-8C46-7E1CEB9E2F9A}">
      <dgm:prSet/>
      <dgm:spPr/>
      <dgm:t>
        <a:bodyPr/>
        <a:lstStyle/>
        <a:p>
          <a:endParaRPr lang="fr-FR"/>
        </a:p>
      </dgm:t>
    </dgm:pt>
    <dgm:pt modelId="{77BC6EE2-CA23-4A17-B000-2257B6461587}">
      <dgm:prSet phldrT="[Texte]" custT="1"/>
      <dgm:spPr>
        <a:solidFill>
          <a:schemeClr val="accent1">
            <a:lumMod val="10000"/>
            <a:lumOff val="90000"/>
            <a:alpha val="50000"/>
          </a:schemeClr>
        </a:solidFill>
      </dgm:spPr>
      <dgm:t>
        <a:bodyPr/>
        <a:lstStyle/>
        <a:p>
          <a:r>
            <a:rPr lang="fr-FR" altLang="fr-FR" sz="1000" dirty="0">
              <a:solidFill>
                <a:schemeClr val="dk1"/>
              </a:solidFill>
              <a:latin typeface="+mn-lt"/>
              <a:ea typeface="+mn-ea"/>
              <a:cs typeface="+mn-cs"/>
            </a:rPr>
            <a:t>Déployer une formation (le minimum)</a:t>
          </a:r>
          <a:endParaRPr lang="fr-FR" sz="1000" dirty="0"/>
        </a:p>
      </dgm:t>
    </dgm:pt>
    <dgm:pt modelId="{240EE075-4174-4135-840C-07B860A6A9B9}" type="parTrans" cxnId="{340F6ADC-AE45-4BE5-9433-9E3FC8FFE6D2}">
      <dgm:prSet/>
      <dgm:spPr/>
      <dgm:t>
        <a:bodyPr/>
        <a:lstStyle/>
        <a:p>
          <a:endParaRPr lang="fr-FR"/>
        </a:p>
      </dgm:t>
    </dgm:pt>
    <dgm:pt modelId="{453D3C4B-A38C-4A0D-A42C-71085437598E}" type="sibTrans" cxnId="{340F6ADC-AE45-4BE5-9433-9E3FC8FFE6D2}">
      <dgm:prSet/>
      <dgm:spPr/>
      <dgm:t>
        <a:bodyPr/>
        <a:lstStyle/>
        <a:p>
          <a:endParaRPr lang="fr-FR"/>
        </a:p>
      </dgm:t>
    </dgm:pt>
    <dgm:pt modelId="{926527C8-697B-49C7-82F5-94ED09D8505B}">
      <dgm:prSet phldrT="[Texte]" custT="1"/>
      <dgm:spPr>
        <a:solidFill>
          <a:schemeClr val="accent1">
            <a:lumMod val="25000"/>
            <a:lumOff val="75000"/>
            <a:alpha val="50000"/>
          </a:schemeClr>
        </a:solidFill>
      </dgm:spPr>
      <dgm:t>
        <a:bodyPr/>
        <a:lstStyle/>
        <a:p>
          <a:r>
            <a:rPr lang="fr-FR" sz="1000" dirty="0">
              <a:solidFill>
                <a:schemeClr val="dk1"/>
              </a:solidFill>
              <a:latin typeface="+mn-lt"/>
              <a:ea typeface="+mn-ea"/>
              <a:cs typeface="+mn-cs"/>
            </a:rPr>
            <a:t>Participer à un projet ou piloter un projet de formation à distance (avec</a:t>
          </a:r>
          <a:r>
            <a:rPr lang="fr-FR" sz="10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 ou sans prestataire externe)</a:t>
          </a:r>
          <a:endParaRPr lang="fr-FR" sz="1000" dirty="0"/>
        </a:p>
      </dgm:t>
    </dgm:pt>
    <dgm:pt modelId="{5A119CD9-C941-4925-9445-8CDA48124EBE}" type="parTrans" cxnId="{0D966FDA-7920-40AF-BC83-4737FA50DB83}">
      <dgm:prSet/>
      <dgm:spPr/>
      <dgm:t>
        <a:bodyPr/>
        <a:lstStyle/>
        <a:p>
          <a:endParaRPr lang="fr-FR"/>
        </a:p>
      </dgm:t>
    </dgm:pt>
    <dgm:pt modelId="{67E3F3E1-EDD0-4DB5-B0EE-A982706FEAFA}" type="sibTrans" cxnId="{0D966FDA-7920-40AF-BC83-4737FA50DB83}">
      <dgm:prSet/>
      <dgm:spPr/>
      <dgm:t>
        <a:bodyPr/>
        <a:lstStyle/>
        <a:p>
          <a:endParaRPr lang="fr-FR"/>
        </a:p>
      </dgm:t>
    </dgm:pt>
    <dgm:pt modelId="{27978B3D-CABE-4522-AB56-267A19B8828F}">
      <dgm:prSet phldrT="[Texte]" custT="1"/>
      <dgm:spPr>
        <a:solidFill>
          <a:schemeClr val="accent1">
            <a:lumMod val="50000"/>
            <a:lumOff val="50000"/>
            <a:alpha val="50000"/>
          </a:schemeClr>
        </a:solidFill>
      </dgm:spPr>
      <dgm:t>
        <a:bodyPr/>
        <a:lstStyle/>
        <a:p>
          <a:r>
            <a:rPr lang="fr-FR" sz="10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Conception pédagogique (Les CPF sont capables d’établir un scénario pédagogique et un </a:t>
          </a:r>
          <a:r>
            <a:rPr lang="fr-FR" sz="1000" baseline="0" dirty="0" err="1">
              <a:solidFill>
                <a:schemeClr val="dk1"/>
              </a:solidFill>
              <a:latin typeface="+mn-lt"/>
              <a:ea typeface="+mn-ea"/>
              <a:cs typeface="+mn-cs"/>
            </a:rPr>
            <a:t>storyboard</a:t>
          </a:r>
          <a:r>
            <a:rPr lang="fr-FR" sz="10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 standardisés)</a:t>
          </a:r>
          <a:endParaRPr lang="fr-FR" sz="1000" dirty="0"/>
        </a:p>
      </dgm:t>
    </dgm:pt>
    <dgm:pt modelId="{5168F933-25F6-4FE6-8407-1C7E1710A71A}" type="parTrans" cxnId="{320EC7B1-4EF8-42E7-8199-0CCCEC0911B3}">
      <dgm:prSet/>
      <dgm:spPr/>
      <dgm:t>
        <a:bodyPr/>
        <a:lstStyle/>
        <a:p>
          <a:endParaRPr lang="fr-FR"/>
        </a:p>
      </dgm:t>
    </dgm:pt>
    <dgm:pt modelId="{DA9C2A3E-8C44-472E-BA9D-1ED86118BC15}" type="sibTrans" cxnId="{320EC7B1-4EF8-42E7-8199-0CCCEC0911B3}">
      <dgm:prSet/>
      <dgm:spPr/>
      <dgm:t>
        <a:bodyPr/>
        <a:lstStyle/>
        <a:p>
          <a:endParaRPr lang="fr-FR"/>
        </a:p>
      </dgm:t>
    </dgm:pt>
    <dgm:pt modelId="{A6D25807-9187-4BDC-B812-3A9DA80F0DEB}">
      <dgm:prSet phldrT="[Texte]" custT="1"/>
      <dgm:spPr>
        <a:solidFill>
          <a:schemeClr val="accent1">
            <a:lumMod val="75000"/>
            <a:lumOff val="25000"/>
            <a:alpha val="50000"/>
          </a:schemeClr>
        </a:solidFill>
      </dgm:spPr>
      <dgm:t>
        <a:bodyPr/>
        <a:lstStyle/>
        <a:p>
          <a:pPr rtl="0"/>
          <a:r>
            <a:rPr lang="fr-FR" sz="10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Conception technique (</a:t>
          </a:r>
          <a:r>
            <a:rPr lang="fr-FR" sz="1000" baseline="0" dirty="0"/>
            <a:t>Les CPF connaissent les prérequis techniques Mentor)</a:t>
          </a:r>
          <a:endParaRPr lang="fr-FR" sz="1000" dirty="0"/>
        </a:p>
      </dgm:t>
    </dgm:pt>
    <dgm:pt modelId="{E82CCF07-6829-47E5-885D-8806BBE05216}" type="parTrans" cxnId="{BBAB194D-BAD3-469F-AC66-7BD119692EB7}">
      <dgm:prSet/>
      <dgm:spPr/>
      <dgm:t>
        <a:bodyPr/>
        <a:lstStyle/>
        <a:p>
          <a:endParaRPr lang="fr-FR"/>
        </a:p>
      </dgm:t>
    </dgm:pt>
    <dgm:pt modelId="{F5665841-A842-4C84-AA42-6673A43C34F3}" type="sibTrans" cxnId="{BBAB194D-BAD3-469F-AC66-7BD119692EB7}">
      <dgm:prSet/>
      <dgm:spPr/>
      <dgm:t>
        <a:bodyPr/>
        <a:lstStyle/>
        <a:p>
          <a:endParaRPr lang="fr-FR"/>
        </a:p>
      </dgm:t>
    </dgm:pt>
    <dgm:pt modelId="{69A5F0AD-D96A-4AAD-8CF1-55BAFDB6CF3D}" type="pres">
      <dgm:prSet presAssocID="{F67753D1-EC7C-479A-945F-92316E7C45D8}" presName="composite" presStyleCnt="0">
        <dgm:presLayoutVars>
          <dgm:chMax val="1"/>
          <dgm:dir/>
          <dgm:resizeHandles val="exact"/>
        </dgm:presLayoutVars>
      </dgm:prSet>
      <dgm:spPr/>
    </dgm:pt>
    <dgm:pt modelId="{131FB344-51C4-44FA-8439-D23C8FB2593A}" type="pres">
      <dgm:prSet presAssocID="{F67753D1-EC7C-479A-945F-92316E7C45D8}" presName="radial" presStyleCnt="0">
        <dgm:presLayoutVars>
          <dgm:animLvl val="ctr"/>
        </dgm:presLayoutVars>
      </dgm:prSet>
      <dgm:spPr/>
    </dgm:pt>
    <dgm:pt modelId="{5993778A-01AE-4A5A-9996-F0B8DAD90CE9}" type="pres">
      <dgm:prSet presAssocID="{A0E97785-5CC2-4332-8719-CEF65496DA6F}" presName="centerShape" presStyleLbl="vennNode1" presStyleIdx="0" presStyleCnt="5"/>
      <dgm:spPr/>
    </dgm:pt>
    <dgm:pt modelId="{198EE2D8-CFAE-4AD4-A028-FCEBC2FC5504}" type="pres">
      <dgm:prSet presAssocID="{77BC6EE2-CA23-4A17-B000-2257B6461587}" presName="node" presStyleLbl="vennNode1" presStyleIdx="1" presStyleCnt="5" custScaleX="166887">
        <dgm:presLayoutVars>
          <dgm:bulletEnabled val="1"/>
        </dgm:presLayoutVars>
      </dgm:prSet>
      <dgm:spPr/>
    </dgm:pt>
    <dgm:pt modelId="{FC5F7819-A434-45F1-A33B-A2CE75E24C91}" type="pres">
      <dgm:prSet presAssocID="{926527C8-697B-49C7-82F5-94ED09D8505B}" presName="node" presStyleLbl="vennNode1" presStyleIdx="2" presStyleCnt="5" custScaleX="225450" custScaleY="148130" custRadScaleRad="135836" custRadScaleInc="467">
        <dgm:presLayoutVars>
          <dgm:bulletEnabled val="1"/>
        </dgm:presLayoutVars>
      </dgm:prSet>
      <dgm:spPr/>
    </dgm:pt>
    <dgm:pt modelId="{06EDABE7-3DB6-4912-B47B-FF29F346431C}" type="pres">
      <dgm:prSet presAssocID="{27978B3D-CABE-4522-AB56-267A19B8828F}" presName="node" presStyleLbl="vennNode1" presStyleIdx="3" presStyleCnt="5" custScaleX="221800" custScaleY="135534">
        <dgm:presLayoutVars>
          <dgm:bulletEnabled val="1"/>
        </dgm:presLayoutVars>
      </dgm:prSet>
      <dgm:spPr/>
    </dgm:pt>
    <dgm:pt modelId="{0975976E-BEDA-4E76-B805-F1AB159A62C0}" type="pres">
      <dgm:prSet presAssocID="{A6D25807-9187-4BDC-B812-3A9DA80F0DEB}" presName="node" presStyleLbl="vennNode1" presStyleIdx="4" presStyleCnt="5" custScaleX="230771" custScaleY="130363" custRadScaleRad="130925" custRadScaleInc="0">
        <dgm:presLayoutVars>
          <dgm:bulletEnabled val="1"/>
        </dgm:presLayoutVars>
      </dgm:prSet>
      <dgm:spPr/>
    </dgm:pt>
  </dgm:ptLst>
  <dgm:cxnLst>
    <dgm:cxn modelId="{975C331D-1EBC-4A0E-93C4-51E99356D10D}" type="presOf" srcId="{A6D25807-9187-4BDC-B812-3A9DA80F0DEB}" destId="{0975976E-BEDA-4E76-B805-F1AB159A62C0}" srcOrd="0" destOrd="0" presId="urn:microsoft.com/office/officeart/2005/8/layout/radial3"/>
    <dgm:cxn modelId="{3E9C1C42-865C-4F6A-B2FE-5A91A28F1323}" type="presOf" srcId="{F67753D1-EC7C-479A-945F-92316E7C45D8}" destId="{69A5F0AD-D96A-4AAD-8CF1-55BAFDB6CF3D}" srcOrd="0" destOrd="0" presId="urn:microsoft.com/office/officeart/2005/8/layout/radial3"/>
    <dgm:cxn modelId="{A370DC43-6327-4CFB-AD62-6D0DB12F17ED}" type="presOf" srcId="{77BC6EE2-CA23-4A17-B000-2257B6461587}" destId="{198EE2D8-CFAE-4AD4-A028-FCEBC2FC5504}" srcOrd="0" destOrd="0" presId="urn:microsoft.com/office/officeart/2005/8/layout/radial3"/>
    <dgm:cxn modelId="{BBAB194D-BAD3-469F-AC66-7BD119692EB7}" srcId="{A0E97785-5CC2-4332-8719-CEF65496DA6F}" destId="{A6D25807-9187-4BDC-B812-3A9DA80F0DEB}" srcOrd="3" destOrd="0" parTransId="{E82CCF07-6829-47E5-885D-8806BBE05216}" sibTransId="{F5665841-A842-4C84-AA42-6673A43C34F3}"/>
    <dgm:cxn modelId="{51AAE189-78EA-4ADE-A185-72B5BDE97AA8}" type="presOf" srcId="{27978B3D-CABE-4522-AB56-267A19B8828F}" destId="{06EDABE7-3DB6-4912-B47B-FF29F346431C}" srcOrd="0" destOrd="0" presId="urn:microsoft.com/office/officeart/2005/8/layout/radial3"/>
    <dgm:cxn modelId="{072FCCA3-A2CF-4E52-8F53-4198DDE7416C}" type="presOf" srcId="{926527C8-697B-49C7-82F5-94ED09D8505B}" destId="{FC5F7819-A434-45F1-A33B-A2CE75E24C91}" srcOrd="0" destOrd="0" presId="urn:microsoft.com/office/officeart/2005/8/layout/radial3"/>
    <dgm:cxn modelId="{F289DEA7-C820-4407-8C46-7E1CEB9E2F9A}" srcId="{F67753D1-EC7C-479A-945F-92316E7C45D8}" destId="{A0E97785-5CC2-4332-8719-CEF65496DA6F}" srcOrd="0" destOrd="0" parTransId="{B84E99A4-D9F1-4152-8869-2ECF50CDEE1C}" sibTransId="{1CA1ACEA-F8D0-4DFA-9513-2CB61C07CFF5}"/>
    <dgm:cxn modelId="{091524AE-52FA-49B5-AE11-20D52E3C6EE5}" type="presOf" srcId="{A0E97785-5CC2-4332-8719-CEF65496DA6F}" destId="{5993778A-01AE-4A5A-9996-F0B8DAD90CE9}" srcOrd="0" destOrd="0" presId="urn:microsoft.com/office/officeart/2005/8/layout/radial3"/>
    <dgm:cxn modelId="{320EC7B1-4EF8-42E7-8199-0CCCEC0911B3}" srcId="{A0E97785-5CC2-4332-8719-CEF65496DA6F}" destId="{27978B3D-CABE-4522-AB56-267A19B8828F}" srcOrd="2" destOrd="0" parTransId="{5168F933-25F6-4FE6-8407-1C7E1710A71A}" sibTransId="{DA9C2A3E-8C44-472E-BA9D-1ED86118BC15}"/>
    <dgm:cxn modelId="{0D966FDA-7920-40AF-BC83-4737FA50DB83}" srcId="{A0E97785-5CC2-4332-8719-CEF65496DA6F}" destId="{926527C8-697B-49C7-82F5-94ED09D8505B}" srcOrd="1" destOrd="0" parTransId="{5A119CD9-C941-4925-9445-8CDA48124EBE}" sibTransId="{67E3F3E1-EDD0-4DB5-B0EE-A982706FEAFA}"/>
    <dgm:cxn modelId="{340F6ADC-AE45-4BE5-9433-9E3FC8FFE6D2}" srcId="{A0E97785-5CC2-4332-8719-CEF65496DA6F}" destId="{77BC6EE2-CA23-4A17-B000-2257B6461587}" srcOrd="0" destOrd="0" parTransId="{240EE075-4174-4135-840C-07B860A6A9B9}" sibTransId="{453D3C4B-A38C-4A0D-A42C-71085437598E}"/>
    <dgm:cxn modelId="{A422A899-0564-4277-BCCC-1E27464D4B90}" type="presParOf" srcId="{69A5F0AD-D96A-4AAD-8CF1-55BAFDB6CF3D}" destId="{131FB344-51C4-44FA-8439-D23C8FB2593A}" srcOrd="0" destOrd="0" presId="urn:microsoft.com/office/officeart/2005/8/layout/radial3"/>
    <dgm:cxn modelId="{C4F9A6A0-D025-4AEB-ADDD-37EB4B5A171B}" type="presParOf" srcId="{131FB344-51C4-44FA-8439-D23C8FB2593A}" destId="{5993778A-01AE-4A5A-9996-F0B8DAD90CE9}" srcOrd="0" destOrd="0" presId="urn:microsoft.com/office/officeart/2005/8/layout/radial3"/>
    <dgm:cxn modelId="{E1ED5D18-DFA1-4548-8CE4-86A06CFF5069}" type="presParOf" srcId="{131FB344-51C4-44FA-8439-D23C8FB2593A}" destId="{198EE2D8-CFAE-4AD4-A028-FCEBC2FC5504}" srcOrd="1" destOrd="0" presId="urn:microsoft.com/office/officeart/2005/8/layout/radial3"/>
    <dgm:cxn modelId="{208ED4F1-A11B-42D9-97D1-158B5C5744B7}" type="presParOf" srcId="{131FB344-51C4-44FA-8439-D23C8FB2593A}" destId="{FC5F7819-A434-45F1-A33B-A2CE75E24C91}" srcOrd="2" destOrd="0" presId="urn:microsoft.com/office/officeart/2005/8/layout/radial3"/>
    <dgm:cxn modelId="{5A376B3C-0241-4009-9C57-821B2749C41F}" type="presParOf" srcId="{131FB344-51C4-44FA-8439-D23C8FB2593A}" destId="{06EDABE7-3DB6-4912-B47B-FF29F346431C}" srcOrd="3" destOrd="0" presId="urn:microsoft.com/office/officeart/2005/8/layout/radial3"/>
    <dgm:cxn modelId="{7023DF9E-9C94-4BEA-8FC6-818D4B5E5CED}" type="presParOf" srcId="{131FB344-51C4-44FA-8439-D23C8FB2593A}" destId="{0975976E-BEDA-4E76-B805-F1AB159A62C0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64EE5F-D2C0-469D-AFAB-DFA92310E5FA}">
      <dsp:nvSpPr>
        <dsp:cNvPr id="0" name=""/>
        <dsp:cNvSpPr/>
      </dsp:nvSpPr>
      <dsp:spPr>
        <a:xfrm>
          <a:off x="0" y="2436"/>
          <a:ext cx="8423275" cy="636251"/>
        </a:xfrm>
        <a:prstGeom prst="roundRect">
          <a:avLst/>
        </a:prstGeom>
        <a:solidFill>
          <a:schemeClr val="accent1">
            <a:lumMod val="25000"/>
            <a:lumOff val="75000"/>
          </a:schemeClr>
        </a:solidFill>
        <a:ln w="25400" cap="flat" cmpd="sng" algn="ctr">
          <a:solidFill>
            <a:schemeClr val="accent1">
              <a:lumMod val="10000"/>
              <a:lumOff val="9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tx1"/>
              </a:solidFill>
            </a:rPr>
            <a:t>Enjeu : </a:t>
          </a:r>
          <a:r>
            <a:rPr lang="fr-FR" sz="1600" i="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Une comitologie qui garantisse fluidité de l’information, impulsion et suivi des projets</a:t>
          </a:r>
          <a:r>
            <a:rPr lang="fr-FR" sz="1600" i="0" kern="1200" dirty="0">
              <a:solidFill>
                <a:schemeClr val="tx1"/>
              </a:solidFill>
            </a:rPr>
            <a:t> </a:t>
          </a:r>
        </a:p>
      </dsp:txBody>
      <dsp:txXfrm>
        <a:off x="31059" y="33495"/>
        <a:ext cx="8361157" cy="574133"/>
      </dsp:txXfrm>
    </dsp:sp>
    <dsp:sp modelId="{9011C8FC-2747-4CA5-9701-87FA19B5CE8D}">
      <dsp:nvSpPr>
        <dsp:cNvPr id="0" name=""/>
        <dsp:cNvSpPr/>
      </dsp:nvSpPr>
      <dsp:spPr>
        <a:xfrm>
          <a:off x="0" y="638687"/>
          <a:ext cx="8423275" cy="3846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743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sz="1200" i="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Faire vivre une communauté pour partager de l’information et construire ensemble des projets</a:t>
          </a:r>
          <a:endParaRPr lang="fr-FR" sz="1200" i="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sz="1200" i="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Organiser si nécessaire des travaux de groupe pour produire des outils au service de la communauté </a:t>
          </a:r>
        </a:p>
      </dsp:txBody>
      <dsp:txXfrm>
        <a:off x="0" y="638687"/>
        <a:ext cx="8423275" cy="384605"/>
      </dsp:txXfrm>
    </dsp:sp>
    <dsp:sp modelId="{FDCEC038-C982-4B6C-B1E0-2B5D611EA7E8}">
      <dsp:nvSpPr>
        <dsp:cNvPr id="0" name=""/>
        <dsp:cNvSpPr/>
      </dsp:nvSpPr>
      <dsp:spPr>
        <a:xfrm>
          <a:off x="0" y="991126"/>
          <a:ext cx="8423275" cy="636251"/>
        </a:xfrm>
        <a:prstGeom prst="roundRect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tx1"/>
              </a:solidFill>
            </a:rPr>
            <a:t>Objectifs : pourquoi faire vivre ce comité ministériel ?</a:t>
          </a:r>
        </a:p>
      </dsp:txBody>
      <dsp:txXfrm>
        <a:off x="31059" y="1022185"/>
        <a:ext cx="8361157" cy="574133"/>
      </dsp:txXfrm>
    </dsp:sp>
    <dsp:sp modelId="{BC6B3BC3-AC35-4289-91A5-1B0BAD0CE74F}">
      <dsp:nvSpPr>
        <dsp:cNvPr id="0" name=""/>
        <dsp:cNvSpPr/>
      </dsp:nvSpPr>
      <dsp:spPr>
        <a:xfrm>
          <a:off x="0" y="1659544"/>
          <a:ext cx="8423275" cy="168851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7439" tIns="15240" rIns="85344" bIns="1524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altLang="en-US" sz="120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S’assurer du respect des principes collectifs de fonctionnement du COMIN Mentor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altLang="en-US" sz="120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Définir puis suivre la stratégie éditoriale du pôle </a:t>
          </a:r>
          <a:r>
            <a:rPr lang="fr-FR" altLang="en-US" sz="1200" kern="1200" dirty="0">
              <a:latin typeface="Arial" charset="0"/>
              <a:ea typeface="Arial Narrow" pitchFamily="34" charset="0"/>
              <a:cs typeface="Arial Narrow" pitchFamily="34" charset="0"/>
            </a:rPr>
            <a:t>ministériel en cohérence avec la </a:t>
          </a:r>
          <a:r>
            <a:rPr lang="fr-FR" altLang="en-US" sz="1200" u="sng" kern="1200" dirty="0">
              <a:latin typeface="Arial" charset="0"/>
              <a:ea typeface="Arial Narrow" pitchFamily="34" charset="0"/>
              <a:cs typeface="Arial Narrow" pitchFamily="34" charset="0"/>
              <a:hlinkClick xmlns:r="http://schemas.openxmlformats.org/officeDocument/2006/relationships" r:id="rId1" action="ppaction://hlinkfile"/>
            </a:rPr>
            <a:t>stratégie éditoriale Mentor</a:t>
          </a:r>
          <a:r>
            <a:rPr lang="fr-FR" altLang="en-US" sz="1200" u="sng" kern="1200" dirty="0">
              <a:latin typeface="Arial" charset="0"/>
              <a:ea typeface="Arial Narrow" pitchFamily="34" charset="0"/>
              <a:cs typeface="Arial Narrow" pitchFamily="34" charset="0"/>
            </a:rPr>
            <a:t> </a:t>
          </a:r>
          <a:r>
            <a:rPr lang="fr-FR" altLang="en-US" sz="120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: ligne éditoriale, qualité, pertinence…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altLang="en-US" sz="120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Identifier et proposer les modalités de contribution des acteurs de la communauté du pôle ministériel (nouveaux projets, actualisation des FOAD…), s’assurer de l’efficacité de nos outils de fonctionnement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altLang="en-US" sz="1200" kern="1200" dirty="0">
              <a:solidFill>
                <a:srgbClr val="000000"/>
              </a:solidFill>
              <a:latin typeface="Arial" charset="0"/>
              <a:ea typeface="Arial Narrow" pitchFamily="34" charset="0"/>
              <a:cs typeface="Arial Narrow" pitchFamily="34" charset="0"/>
            </a:rPr>
            <a:t>Partager les évolutions et informations sur le programme Mentor</a:t>
          </a:r>
          <a:endParaRPr lang="fr-FR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fr-FR" sz="1200" kern="1200" dirty="0">
              <a:solidFill>
                <a:schemeClr val="tx2">
                  <a:lumMod val="60000"/>
                  <a:lumOff val="40000"/>
                </a:schemeClr>
              </a:solidFill>
            </a:rPr>
            <a:t>Présenter un suivi statistique sur la base des données qu’il est possible de recueillir en l’état actuel et recueillir les demandes d’évolution du </a:t>
          </a:r>
          <a:r>
            <a:rPr lang="fr-FR" sz="1200" kern="1200" dirty="0" err="1">
              <a:solidFill>
                <a:schemeClr val="tx2">
                  <a:lumMod val="60000"/>
                  <a:lumOff val="40000"/>
                </a:schemeClr>
              </a:solidFill>
            </a:rPr>
            <a:t>reporting</a:t>
          </a:r>
          <a:r>
            <a:rPr lang="fr-FR" sz="1200" kern="1200" dirty="0">
              <a:solidFill>
                <a:schemeClr val="tx2">
                  <a:lumMod val="60000"/>
                  <a:lumOff val="40000"/>
                </a:schemeClr>
              </a:solidFill>
            </a:rPr>
            <a:t> pour que les administrateurs puissent faire remonter les besoins</a:t>
          </a:r>
        </a:p>
      </dsp:txBody>
      <dsp:txXfrm>
        <a:off x="0" y="1659544"/>
        <a:ext cx="8423275" cy="168851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DBED23-D0D0-46A3-BFBA-CBAFBC99EB30}">
      <dsp:nvSpPr>
        <dsp:cNvPr id="0" name=""/>
        <dsp:cNvSpPr/>
      </dsp:nvSpPr>
      <dsp:spPr>
        <a:xfrm>
          <a:off x="2791284" y="184700"/>
          <a:ext cx="1403075" cy="140307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Coopération</a:t>
          </a:r>
        </a:p>
      </dsp:txBody>
      <dsp:txXfrm>
        <a:off x="3202235" y="595651"/>
        <a:ext cx="992124" cy="992124"/>
      </dsp:txXfrm>
    </dsp:sp>
    <dsp:sp modelId="{873A5A51-5B1C-49AD-A229-76E48FDCC3E9}">
      <dsp:nvSpPr>
        <dsp:cNvPr id="0" name=""/>
        <dsp:cNvSpPr/>
      </dsp:nvSpPr>
      <dsp:spPr>
        <a:xfrm rot="5400000">
          <a:off x="4259167" y="184700"/>
          <a:ext cx="1403075" cy="1403075"/>
        </a:xfrm>
        <a:prstGeom prst="pieWedg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7112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/>
            <a:t>Optimisation et mutualisation</a:t>
          </a:r>
        </a:p>
      </dsp:txBody>
      <dsp:txXfrm rot="-5400000">
        <a:off x="4259167" y="595651"/>
        <a:ext cx="992124" cy="992124"/>
      </dsp:txXfrm>
    </dsp:sp>
    <dsp:sp modelId="{B4A23123-578B-4F74-99A1-79F861BE4C4A}">
      <dsp:nvSpPr>
        <dsp:cNvPr id="0" name=""/>
        <dsp:cNvSpPr/>
      </dsp:nvSpPr>
      <dsp:spPr>
        <a:xfrm rot="10800000">
          <a:off x="4259167" y="1652583"/>
          <a:ext cx="1403075" cy="1403075"/>
        </a:xfrm>
        <a:prstGeom prst="pieWedge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Solidarité</a:t>
          </a:r>
        </a:p>
      </dsp:txBody>
      <dsp:txXfrm rot="10800000">
        <a:off x="4259167" y="1652583"/>
        <a:ext cx="992124" cy="992124"/>
      </dsp:txXfrm>
    </dsp:sp>
    <dsp:sp modelId="{7FB58204-DC39-4EE6-A3FC-FB3C9B6C0EE5}">
      <dsp:nvSpPr>
        <dsp:cNvPr id="0" name=""/>
        <dsp:cNvSpPr/>
      </dsp:nvSpPr>
      <dsp:spPr>
        <a:xfrm rot="16200000">
          <a:off x="2791284" y="1652583"/>
          <a:ext cx="1403075" cy="1403075"/>
        </a:xfrm>
        <a:prstGeom prst="pieWedge">
          <a:avLst/>
        </a:prstGeom>
        <a:solidFill>
          <a:schemeClr val="accent1">
            <a:lumMod val="50000"/>
            <a:lumOff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300" kern="1200" dirty="0"/>
            <a:t>Exigence</a:t>
          </a:r>
        </a:p>
      </dsp:txBody>
      <dsp:txXfrm rot="5400000">
        <a:off x="3202235" y="1652583"/>
        <a:ext cx="992124" cy="992124"/>
      </dsp:txXfrm>
    </dsp:sp>
    <dsp:sp modelId="{D3350468-D0C3-4897-AEE7-5A9290FB2C13}">
      <dsp:nvSpPr>
        <dsp:cNvPr id="0" name=""/>
        <dsp:cNvSpPr/>
      </dsp:nvSpPr>
      <dsp:spPr>
        <a:xfrm>
          <a:off x="3984547" y="1328547"/>
          <a:ext cx="484433" cy="421246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8D5FB11-0060-4468-BAD4-49CD0024146B}">
      <dsp:nvSpPr>
        <dsp:cNvPr id="0" name=""/>
        <dsp:cNvSpPr/>
      </dsp:nvSpPr>
      <dsp:spPr>
        <a:xfrm rot="10800000">
          <a:off x="3984547" y="1490565"/>
          <a:ext cx="484433" cy="421246"/>
        </a:xfrm>
        <a:prstGeom prst="circular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95198C-4C78-4D92-872D-2FAE0ED964EC}">
      <dsp:nvSpPr>
        <dsp:cNvPr id="0" name=""/>
        <dsp:cNvSpPr/>
      </dsp:nvSpPr>
      <dsp:spPr>
        <a:xfrm>
          <a:off x="3369310" y="314"/>
          <a:ext cx="5053965" cy="122509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Prioriser nos créations de FOAD sur des thématiques métiers spécifiques à notre ministèr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Développer des parcours de formation hybridés </a:t>
          </a:r>
        </a:p>
      </dsp:txBody>
      <dsp:txXfrm>
        <a:off x="3369310" y="153451"/>
        <a:ext cx="4594553" cy="918825"/>
      </dsp:txXfrm>
    </dsp:sp>
    <dsp:sp modelId="{23B418A0-D0DC-4848-871C-91D319D910F2}">
      <dsp:nvSpPr>
        <dsp:cNvPr id="0" name=""/>
        <dsp:cNvSpPr/>
      </dsp:nvSpPr>
      <dsp:spPr>
        <a:xfrm>
          <a:off x="0" y="314"/>
          <a:ext cx="3369310" cy="1225099"/>
        </a:xfrm>
        <a:prstGeom prst="roundRect">
          <a:avLst/>
        </a:prstGeom>
        <a:solidFill>
          <a:schemeClr val="accent1">
            <a:lumMod val="25000"/>
            <a:lumOff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Enjeux</a:t>
          </a:r>
        </a:p>
      </dsp:txBody>
      <dsp:txXfrm>
        <a:off x="59804" y="60118"/>
        <a:ext cx="3249702" cy="1105491"/>
      </dsp:txXfrm>
    </dsp:sp>
    <dsp:sp modelId="{16471FD1-F05F-4B02-978A-B35DBE2877B8}">
      <dsp:nvSpPr>
        <dsp:cNvPr id="0" name=""/>
        <dsp:cNvSpPr/>
      </dsp:nvSpPr>
      <dsp:spPr>
        <a:xfrm>
          <a:off x="3369310" y="1347923"/>
          <a:ext cx="5053965" cy="1225099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Avant le lancement du proj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Pour lancer le proj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Pour communiquer sur le projet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 dirty="0"/>
            <a:t>Pour faire vivre la formation</a:t>
          </a:r>
        </a:p>
      </dsp:txBody>
      <dsp:txXfrm>
        <a:off x="3369310" y="1501060"/>
        <a:ext cx="4594553" cy="918825"/>
      </dsp:txXfrm>
    </dsp:sp>
    <dsp:sp modelId="{D96DB3ED-5C40-4AE5-9B44-133D20A8705F}">
      <dsp:nvSpPr>
        <dsp:cNvPr id="0" name=""/>
        <dsp:cNvSpPr/>
      </dsp:nvSpPr>
      <dsp:spPr>
        <a:xfrm>
          <a:off x="0" y="1347923"/>
          <a:ext cx="3369310" cy="1225099"/>
        </a:xfrm>
        <a:prstGeom prst="roundRect">
          <a:avLst/>
        </a:prstGeom>
        <a:solidFill>
          <a:schemeClr val="accent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800" kern="1200" dirty="0"/>
            <a:t>Bonnes pratiques</a:t>
          </a:r>
        </a:p>
      </dsp:txBody>
      <dsp:txXfrm>
        <a:off x="59804" y="1407727"/>
        <a:ext cx="3249702" cy="110549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592796-0394-4D43-9DE7-CFC5C89F1C98}">
      <dsp:nvSpPr>
        <dsp:cNvPr id="0" name=""/>
        <dsp:cNvSpPr/>
      </dsp:nvSpPr>
      <dsp:spPr>
        <a:xfrm rot="10800000">
          <a:off x="2088634" y="0"/>
          <a:ext cx="2573337" cy="257333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CC4719-6978-4E65-A9A1-0DAA46BDA04E}">
      <dsp:nvSpPr>
        <dsp:cNvPr id="0" name=""/>
        <dsp:cNvSpPr/>
      </dsp:nvSpPr>
      <dsp:spPr>
        <a:xfrm>
          <a:off x="107183" y="257476"/>
          <a:ext cx="8208907" cy="956071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L’opportunité de se lancer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1 – De l’idée… au lancement du projet de FOAD</a:t>
          </a:r>
        </a:p>
      </dsp:txBody>
      <dsp:txXfrm>
        <a:off x="153855" y="304148"/>
        <a:ext cx="8115563" cy="862727"/>
      </dsp:txXfrm>
    </dsp:sp>
    <dsp:sp modelId="{8837D44C-158D-4489-B3DC-255383D9FB43}">
      <dsp:nvSpPr>
        <dsp:cNvPr id="0" name=""/>
        <dsp:cNvSpPr/>
      </dsp:nvSpPr>
      <dsp:spPr>
        <a:xfrm>
          <a:off x="107183" y="1264625"/>
          <a:ext cx="8208907" cy="1000157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/>
            <a:t>Comment réussir la réalisation du projet ?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2 -  Du lancement du projet… à la réalisation de la FOAD</a:t>
          </a:r>
        </a:p>
      </dsp:txBody>
      <dsp:txXfrm>
        <a:off x="156007" y="1313449"/>
        <a:ext cx="8111259" cy="90250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A2F6A9-0722-49D0-A7ED-50C53D4BEA16}">
      <dsp:nvSpPr>
        <dsp:cNvPr id="0" name=""/>
        <dsp:cNvSpPr/>
      </dsp:nvSpPr>
      <dsp:spPr>
        <a:xfrm>
          <a:off x="-3542681" y="-544528"/>
          <a:ext cx="4223526" cy="4223526"/>
        </a:xfrm>
        <a:prstGeom prst="blockArc">
          <a:avLst>
            <a:gd name="adj1" fmla="val 18900000"/>
            <a:gd name="adj2" fmla="val 2700000"/>
            <a:gd name="adj3" fmla="val 511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D0F34F5-8C68-4538-86BF-C80E8580F61D}">
      <dsp:nvSpPr>
        <dsp:cNvPr id="0" name=""/>
        <dsp:cNvSpPr/>
      </dsp:nvSpPr>
      <dsp:spPr>
        <a:xfrm>
          <a:off x="221222" y="142492"/>
          <a:ext cx="8161546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Embarquer les agents du Pôle Ministériel sur la  plateforme de formation à distance Mentor  </a:t>
          </a:r>
          <a:endParaRPr lang="fr-FR" sz="1100" kern="1200" dirty="0">
            <a:solidFill>
              <a:schemeClr val="bg1"/>
            </a:solidFill>
          </a:endParaRPr>
        </a:p>
      </dsp:txBody>
      <dsp:txXfrm>
        <a:off x="221222" y="142492"/>
        <a:ext cx="8161546" cy="284860"/>
      </dsp:txXfrm>
    </dsp:sp>
    <dsp:sp modelId="{83F476D5-28A9-48DD-AB23-19856721850F}">
      <dsp:nvSpPr>
        <dsp:cNvPr id="0" name=""/>
        <dsp:cNvSpPr/>
      </dsp:nvSpPr>
      <dsp:spPr>
        <a:xfrm>
          <a:off x="43184" y="106885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AFAEFF-0754-474E-A96A-15909E2C66A5}">
      <dsp:nvSpPr>
        <dsp:cNvPr id="0" name=""/>
        <dsp:cNvSpPr/>
      </dsp:nvSpPr>
      <dsp:spPr>
        <a:xfrm>
          <a:off x="479189" y="570034"/>
          <a:ext cx="7903580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Alimenter la collection Transition Ecologique et Développement Durable (TEDD) sur Mentor en interministériel</a:t>
          </a:r>
          <a:endParaRPr lang="fr-FR" sz="1100" kern="1200" dirty="0">
            <a:solidFill>
              <a:schemeClr val="bg1"/>
            </a:solidFill>
          </a:endParaRPr>
        </a:p>
      </dsp:txBody>
      <dsp:txXfrm>
        <a:off x="479189" y="570034"/>
        <a:ext cx="7903580" cy="284860"/>
      </dsp:txXfrm>
    </dsp:sp>
    <dsp:sp modelId="{C7CBAA5B-B5CC-47BC-9AF2-2735C8F3C671}">
      <dsp:nvSpPr>
        <dsp:cNvPr id="0" name=""/>
        <dsp:cNvSpPr/>
      </dsp:nvSpPr>
      <dsp:spPr>
        <a:xfrm>
          <a:off x="301151" y="534426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F15120-A008-4AB4-A181-7BF87C3DC196}">
      <dsp:nvSpPr>
        <dsp:cNvPr id="0" name=""/>
        <dsp:cNvSpPr/>
      </dsp:nvSpPr>
      <dsp:spPr>
        <a:xfrm>
          <a:off x="620553" y="997262"/>
          <a:ext cx="7762215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Digitaliser les formations « métier » du Pôle Ministériel</a:t>
          </a:r>
          <a:endParaRPr lang="fr-FR" sz="1100" kern="1200" dirty="0">
            <a:solidFill>
              <a:schemeClr val="bg1"/>
            </a:solidFill>
          </a:endParaRPr>
        </a:p>
      </dsp:txBody>
      <dsp:txXfrm>
        <a:off x="620553" y="997262"/>
        <a:ext cx="7762215" cy="284860"/>
      </dsp:txXfrm>
    </dsp:sp>
    <dsp:sp modelId="{F113C8B3-829A-4DF3-BDB3-45597BB3F0B2}">
      <dsp:nvSpPr>
        <dsp:cNvPr id="0" name=""/>
        <dsp:cNvSpPr/>
      </dsp:nvSpPr>
      <dsp:spPr>
        <a:xfrm>
          <a:off x="442516" y="961655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96650F9-6B9F-4ABF-AE85-92D8E1EB1BC0}">
      <dsp:nvSpPr>
        <dsp:cNvPr id="0" name=""/>
        <dsp:cNvSpPr/>
      </dsp:nvSpPr>
      <dsp:spPr>
        <a:xfrm>
          <a:off x="665690" y="1424804"/>
          <a:ext cx="7717079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Participer à la communauté interministérielle Mentor</a:t>
          </a:r>
        </a:p>
      </dsp:txBody>
      <dsp:txXfrm>
        <a:off x="665690" y="1424804"/>
        <a:ext cx="7717079" cy="284860"/>
      </dsp:txXfrm>
    </dsp:sp>
    <dsp:sp modelId="{C4932C2A-8310-48D3-898A-1252C21057DA}">
      <dsp:nvSpPr>
        <dsp:cNvPr id="0" name=""/>
        <dsp:cNvSpPr/>
      </dsp:nvSpPr>
      <dsp:spPr>
        <a:xfrm>
          <a:off x="487652" y="1389196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1BA588-DBA7-41B4-BBC5-A96A68A9104D}">
      <dsp:nvSpPr>
        <dsp:cNvPr id="0" name=""/>
        <dsp:cNvSpPr/>
      </dsp:nvSpPr>
      <dsp:spPr>
        <a:xfrm>
          <a:off x="620553" y="1852345"/>
          <a:ext cx="7762215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Constituer et animer la communauté ministérielle Mentor</a:t>
          </a:r>
        </a:p>
      </dsp:txBody>
      <dsp:txXfrm>
        <a:off x="620553" y="1852345"/>
        <a:ext cx="7762215" cy="284860"/>
      </dsp:txXfrm>
    </dsp:sp>
    <dsp:sp modelId="{2BE94C87-DEFC-43C5-85F3-1EAE8CD6D36B}">
      <dsp:nvSpPr>
        <dsp:cNvPr id="0" name=""/>
        <dsp:cNvSpPr/>
      </dsp:nvSpPr>
      <dsp:spPr>
        <a:xfrm>
          <a:off x="442516" y="1816738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43DEAF-3669-447C-BB76-C3B7F0F6962C}">
      <dsp:nvSpPr>
        <dsp:cNvPr id="0" name=""/>
        <dsp:cNvSpPr/>
      </dsp:nvSpPr>
      <dsp:spPr>
        <a:xfrm>
          <a:off x="479189" y="2279573"/>
          <a:ext cx="7903580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Savoir concevoir une formation à distance</a:t>
          </a:r>
          <a:endParaRPr lang="fr-FR" sz="1100" kern="1200" dirty="0">
            <a:solidFill>
              <a:schemeClr val="bg1"/>
            </a:solidFill>
          </a:endParaRPr>
        </a:p>
      </dsp:txBody>
      <dsp:txXfrm>
        <a:off x="479189" y="2279573"/>
        <a:ext cx="7903580" cy="284860"/>
      </dsp:txXfrm>
    </dsp:sp>
    <dsp:sp modelId="{F3265D31-21ED-4C21-8751-8097F78BAC72}">
      <dsp:nvSpPr>
        <dsp:cNvPr id="0" name=""/>
        <dsp:cNvSpPr/>
      </dsp:nvSpPr>
      <dsp:spPr>
        <a:xfrm>
          <a:off x="301151" y="2243966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F2996C-EBB3-491A-B10E-6D8E8E20B48B}">
      <dsp:nvSpPr>
        <dsp:cNvPr id="0" name=""/>
        <dsp:cNvSpPr/>
      </dsp:nvSpPr>
      <dsp:spPr>
        <a:xfrm>
          <a:off x="230037" y="2736305"/>
          <a:ext cx="8161546" cy="28486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108" tIns="27940" rIns="27940" bIns="2794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0" kern="1200" baseline="0" dirty="0">
              <a:solidFill>
                <a:schemeClr val="bg1"/>
              </a:solidFill>
            </a:rPr>
            <a:t>Mettre en œuvre une formation sur Mentor</a:t>
          </a:r>
        </a:p>
      </dsp:txBody>
      <dsp:txXfrm>
        <a:off x="230037" y="2736305"/>
        <a:ext cx="8161546" cy="284860"/>
      </dsp:txXfrm>
    </dsp:sp>
    <dsp:sp modelId="{5A39F294-59F8-4F45-9247-E532A27A4AF3}">
      <dsp:nvSpPr>
        <dsp:cNvPr id="0" name=""/>
        <dsp:cNvSpPr/>
      </dsp:nvSpPr>
      <dsp:spPr>
        <a:xfrm>
          <a:off x="43184" y="2671507"/>
          <a:ext cx="356075" cy="3560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93778A-01AE-4A5A-9996-F0B8DAD90CE9}">
      <dsp:nvSpPr>
        <dsp:cNvPr id="0" name=""/>
        <dsp:cNvSpPr/>
      </dsp:nvSpPr>
      <dsp:spPr>
        <a:xfrm>
          <a:off x="3275014" y="677747"/>
          <a:ext cx="1898501" cy="1898501"/>
        </a:xfrm>
        <a:prstGeom prst="ellipse">
          <a:avLst/>
        </a:prstGeom>
        <a:solidFill>
          <a:schemeClr val="accent1">
            <a:lumMod val="90000"/>
            <a:lumOff val="1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3600" i="1" kern="1200" dirty="0"/>
            <a:t>CPF</a:t>
          </a:r>
        </a:p>
      </dsp:txBody>
      <dsp:txXfrm>
        <a:off x="3553043" y="955776"/>
        <a:ext cx="1342443" cy="1342443"/>
      </dsp:txXfrm>
    </dsp:sp>
    <dsp:sp modelId="{198EE2D8-CFAE-4AD4-A028-FCEBC2FC5504}">
      <dsp:nvSpPr>
        <dsp:cNvPr id="0" name=""/>
        <dsp:cNvSpPr/>
      </dsp:nvSpPr>
      <dsp:spPr>
        <a:xfrm>
          <a:off x="3432176" y="-83987"/>
          <a:ext cx="1584175" cy="949250"/>
        </a:xfrm>
        <a:prstGeom prst="ellipse">
          <a:avLst/>
        </a:prstGeom>
        <a:solidFill>
          <a:schemeClr val="accent1">
            <a:lumMod val="10000"/>
            <a:lumOff val="9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altLang="fr-FR" sz="1000" kern="1200" dirty="0">
              <a:solidFill>
                <a:schemeClr val="dk1"/>
              </a:solidFill>
              <a:latin typeface="+mn-lt"/>
              <a:ea typeface="+mn-ea"/>
              <a:cs typeface="+mn-cs"/>
            </a:rPr>
            <a:t>Déployer une formation (le minimum)</a:t>
          </a:r>
          <a:endParaRPr lang="fr-FR" sz="1000" kern="1200" dirty="0"/>
        </a:p>
      </dsp:txBody>
      <dsp:txXfrm>
        <a:off x="3664173" y="55027"/>
        <a:ext cx="1120181" cy="671222"/>
      </dsp:txXfrm>
    </dsp:sp>
    <dsp:sp modelId="{FC5F7819-A434-45F1-A33B-A2CE75E24C91}">
      <dsp:nvSpPr>
        <dsp:cNvPr id="0" name=""/>
        <dsp:cNvSpPr/>
      </dsp:nvSpPr>
      <dsp:spPr>
        <a:xfrm>
          <a:off x="4833600" y="936255"/>
          <a:ext cx="2140085" cy="1406124"/>
        </a:xfrm>
        <a:prstGeom prst="ellipse">
          <a:avLst/>
        </a:prstGeom>
        <a:solidFill>
          <a:schemeClr val="accent1">
            <a:lumMod val="25000"/>
            <a:lumOff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dirty="0">
              <a:solidFill>
                <a:schemeClr val="dk1"/>
              </a:solidFill>
              <a:latin typeface="+mn-lt"/>
              <a:ea typeface="+mn-ea"/>
              <a:cs typeface="+mn-cs"/>
            </a:rPr>
            <a:t>Participer à un projet ou piloter un projet de formation à distance (avec</a:t>
          </a:r>
          <a:r>
            <a:rPr lang="fr-FR" sz="1000" kern="12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 ou sans prestataire externe)</a:t>
          </a:r>
          <a:endParaRPr lang="fr-FR" sz="1000" kern="1200" dirty="0"/>
        </a:p>
      </dsp:txBody>
      <dsp:txXfrm>
        <a:off x="5147008" y="1142177"/>
        <a:ext cx="1513269" cy="994280"/>
      </dsp:txXfrm>
    </dsp:sp>
    <dsp:sp modelId="{06EDABE7-3DB6-4912-B47B-FF29F346431C}">
      <dsp:nvSpPr>
        <dsp:cNvPr id="0" name=""/>
        <dsp:cNvSpPr/>
      </dsp:nvSpPr>
      <dsp:spPr>
        <a:xfrm>
          <a:off x="3171546" y="2220080"/>
          <a:ext cx="2105437" cy="1286557"/>
        </a:xfrm>
        <a:prstGeom prst="ellipse">
          <a:avLst/>
        </a:prstGeom>
        <a:solidFill>
          <a:schemeClr val="accent1">
            <a:lumMod val="50000"/>
            <a:lumOff val="5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Conception pédagogique (Les CPF sont capables d’établir un scénario pédagogique et un </a:t>
          </a:r>
          <a:r>
            <a:rPr lang="fr-FR" sz="1000" kern="1200" baseline="0" dirty="0" err="1">
              <a:solidFill>
                <a:schemeClr val="dk1"/>
              </a:solidFill>
              <a:latin typeface="+mn-lt"/>
              <a:ea typeface="+mn-ea"/>
              <a:cs typeface="+mn-cs"/>
            </a:rPr>
            <a:t>storyboard</a:t>
          </a:r>
          <a:r>
            <a:rPr lang="fr-FR" sz="1000" kern="12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 standardisés)</a:t>
          </a:r>
          <a:endParaRPr lang="fr-FR" sz="1000" kern="1200" dirty="0"/>
        </a:p>
      </dsp:txBody>
      <dsp:txXfrm>
        <a:off x="3479880" y="2408492"/>
        <a:ext cx="1488769" cy="909733"/>
      </dsp:txXfrm>
    </dsp:sp>
    <dsp:sp modelId="{0975976E-BEDA-4E76-B805-F1AB159A62C0}">
      <dsp:nvSpPr>
        <dsp:cNvPr id="0" name=""/>
        <dsp:cNvSpPr/>
      </dsp:nvSpPr>
      <dsp:spPr>
        <a:xfrm>
          <a:off x="1510261" y="1008262"/>
          <a:ext cx="2190595" cy="1237471"/>
        </a:xfrm>
        <a:prstGeom prst="ellipse">
          <a:avLst/>
        </a:prstGeom>
        <a:solidFill>
          <a:schemeClr val="accent1">
            <a:lumMod val="75000"/>
            <a:lumOff val="2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000" kern="1200" baseline="0" dirty="0">
              <a:solidFill>
                <a:schemeClr val="dk1"/>
              </a:solidFill>
              <a:latin typeface="+mn-lt"/>
              <a:ea typeface="+mn-ea"/>
              <a:cs typeface="+mn-cs"/>
            </a:rPr>
            <a:t>Conception technique (</a:t>
          </a:r>
          <a:r>
            <a:rPr lang="fr-FR" sz="1000" kern="1200" baseline="0" dirty="0"/>
            <a:t>Les CPF connaissent les prérequis techniques Mentor)</a:t>
          </a:r>
          <a:endParaRPr lang="fr-FR" sz="1000" kern="1200" dirty="0"/>
        </a:p>
      </dsp:txBody>
      <dsp:txXfrm>
        <a:off x="1831066" y="1189485"/>
        <a:ext cx="1548985" cy="8750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09/11/2023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805229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610097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629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647895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r>
              <a:rPr lang="fr-FR" dirty="0"/>
              <a:t>En conclusion : 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fr-FR" dirty="0"/>
              <a:t>le paramétrage est obligatoire dans le cadre du futur interfaçage avec le SI-RH Renoir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fr-FR" dirty="0"/>
              <a:t>Il faut mettre en place un suivi des formations pour augmenter le taux de complétion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63315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74285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2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3287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06CD8F-B7ED-4A05-9FB1-A01CC0EF02CC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229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437231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628256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10 proposées en Interministériel 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7 collection TED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30 minutes pour comprendre la démarche qualité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Azote agriculture et environnement (MASA uniquemen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S’initier à la procédure disciplinair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fr-FR" dirty="0"/>
              <a:t>5 en inscription au fil de l’eau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Administration de la Mer et du littoral (ENSAM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Eole Niveau 1 (SG/DNUM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Inspecteur des installations classées - Prise de poste  (DGPR/SRT/SDRCP/BRPICQ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PUMA enregistrement et gestion des navires de plaisance (DGAMPA/SDNUM/NUM3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Sensibilisation aux risques et à la gestion des tunnels (CVRH Nancy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31889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10 proposées en Interministériel 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7 collection TEDD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30 minutes pour comprendre la démarche qualité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Azote agriculture et environnement (MASA uniquemen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S’initier à la procédure disciplinair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fr-FR" dirty="0"/>
              <a:t>5 en inscription au fil de l’eau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Administration de la Mer et du littoral (ENSAM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Eole Niveau 1 (SG/DNUM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Inspecteur des installations classées - Prise de poste  (DGPR/SRT/SDRCP/BRPICQ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PUMA enregistrement et gestion des navires de plaisance (DGAMPA/SDNUM/NUM3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fr-FR" dirty="0"/>
              <a:t>Sensibilisation aux risques et à la gestion des tunnels (CVRH Nancy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31889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7858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78584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  <a:p>
            <a:pPr marL="0" lvl="0" indent="0">
              <a:buFont typeface="Arial" panose="020B0604020202020204" pitchFamily="34" charset="0"/>
              <a:buNone/>
            </a:pPr>
            <a:endParaRPr lang="fr-FR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B06CD8F-B7ED-4A05-9FB1-A01CC0EF02CC}" type="slidenum">
              <a:rPr lang="fr-FR" smtClean="0"/>
              <a:pPr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391487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5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3.png"/><Relationship Id="rId2" Type="http://schemas.openxmlformats.org/officeDocument/2006/relationships/tags" Target="../tags/tag9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4.vml"/><Relationship Id="rId6" Type="http://schemas.openxmlformats.org/officeDocument/2006/relationships/tags" Target="../tags/tag13.xml"/><Relationship Id="rId11" Type="http://schemas.openxmlformats.org/officeDocument/2006/relationships/image" Target="../media/image2.emf"/><Relationship Id="rId5" Type="http://schemas.openxmlformats.org/officeDocument/2006/relationships/tags" Target="../tags/tag12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4.bin"/><Relationship Id="rId4" Type="http://schemas.openxmlformats.org/officeDocument/2006/relationships/tags" Target="../tags/tag11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8.xml"/><Relationship Id="rId7" Type="http://schemas.openxmlformats.org/officeDocument/2006/relationships/image" Target="../media/image3.png"/><Relationship Id="rId2" Type="http://schemas.openxmlformats.org/officeDocument/2006/relationships/tags" Target="../tags/tag1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3.xml"/><Relationship Id="rId7" Type="http://schemas.openxmlformats.org/officeDocument/2006/relationships/oleObject" Target="../embeddings/oleObject9.bin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0.xml"/><Relationship Id="rId7" Type="http://schemas.openxmlformats.org/officeDocument/2006/relationships/image" Target="../media/image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3.xml"/><Relationship Id="rId7" Type="http://schemas.openxmlformats.org/officeDocument/2006/relationships/image" Target="../media/image2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3.png"/><Relationship Id="rId2" Type="http://schemas.openxmlformats.org/officeDocument/2006/relationships/tags" Target="../tags/tag35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39.xml"/><Relationship Id="rId11" Type="http://schemas.openxmlformats.org/officeDocument/2006/relationships/image" Target="../media/image2.emf"/><Relationship Id="rId5" Type="http://schemas.openxmlformats.org/officeDocument/2006/relationships/tags" Target="../tags/tag38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3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7.xml"/><Relationship Id="rId7" Type="http://schemas.openxmlformats.org/officeDocument/2006/relationships/image" Target="../media/image2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48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0.xml"/><Relationship Id="rId7" Type="http://schemas.openxmlformats.org/officeDocument/2006/relationships/image" Target="../media/image2.emf"/><Relationship Id="rId2" Type="http://schemas.openxmlformats.org/officeDocument/2006/relationships/tags" Target="../tags/tag49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3.png"/><Relationship Id="rId2" Type="http://schemas.openxmlformats.org/officeDocument/2006/relationships/tags" Target="../tags/tag52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16.vml"/><Relationship Id="rId6" Type="http://schemas.openxmlformats.org/officeDocument/2006/relationships/tags" Target="../tags/tag56.xml"/><Relationship Id="rId11" Type="http://schemas.openxmlformats.org/officeDocument/2006/relationships/image" Target="../media/image2.emf"/><Relationship Id="rId5" Type="http://schemas.openxmlformats.org/officeDocument/2006/relationships/tags" Target="../tags/tag55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19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1.xml"/><Relationship Id="rId7" Type="http://schemas.openxmlformats.org/officeDocument/2006/relationships/image" Target="../media/image2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4.xml"/><Relationship Id="rId7" Type="http://schemas.openxmlformats.org/officeDocument/2006/relationships/image" Target="../media/image2.emf"/><Relationship Id="rId2" Type="http://schemas.openxmlformats.org/officeDocument/2006/relationships/tags" Target="../tags/tag63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5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7.xml"/><Relationship Id="rId7" Type="http://schemas.openxmlformats.org/officeDocument/2006/relationships/image" Target="../media/image2.emf"/><Relationship Id="rId2" Type="http://schemas.openxmlformats.org/officeDocument/2006/relationships/tags" Target="../tags/tag66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4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6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oleObject" Target="../embeddings/oleObject26.bin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3.png"/><Relationship Id="rId2" Type="http://schemas.openxmlformats.org/officeDocument/2006/relationships/tags" Target="../tags/tag69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21.vml"/><Relationship Id="rId6" Type="http://schemas.openxmlformats.org/officeDocument/2006/relationships/tags" Target="../tags/tag73.xml"/><Relationship Id="rId11" Type="http://schemas.openxmlformats.org/officeDocument/2006/relationships/image" Target="../media/image2.emf"/><Relationship Id="rId5" Type="http://schemas.openxmlformats.org/officeDocument/2006/relationships/tags" Target="../tags/tag72.xml"/><Relationship Id="rId15" Type="http://schemas.openxmlformats.org/officeDocument/2006/relationships/image" Target="../media/image5.png"/><Relationship Id="rId10" Type="http://schemas.openxmlformats.org/officeDocument/2006/relationships/oleObject" Target="../embeddings/oleObject25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8.xml"/><Relationship Id="rId7" Type="http://schemas.openxmlformats.org/officeDocument/2006/relationships/image" Target="../media/image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7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1.xml"/><Relationship Id="rId7" Type="http://schemas.openxmlformats.org/officeDocument/2006/relationships/image" Target="../media/image2.emf"/><Relationship Id="rId2" Type="http://schemas.openxmlformats.org/officeDocument/2006/relationships/tags" Target="../tags/tag80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30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XX/XX/XXXX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5936" y="411510"/>
            <a:ext cx="5691192" cy="2660294"/>
          </a:xfrm>
          <a:prstGeom prst="rect">
            <a:avLst/>
          </a:prstGeom>
        </p:spPr>
      </p:pic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55936" y="3919897"/>
            <a:ext cx="3240000" cy="900000"/>
          </a:xfrm>
        </p:spPr>
        <p:txBody>
          <a:bodyPr anchor="b" anchorCtr="0"/>
          <a:lstStyle>
            <a:lvl1pPr>
              <a:defRPr sz="1150"/>
            </a:lvl1pPr>
          </a:lstStyle>
          <a:p>
            <a:r>
              <a:rPr lang="fr-FR" dirty="0"/>
              <a:t>Intitulé de la direction/service interministérielle</a:t>
            </a:r>
          </a:p>
        </p:txBody>
      </p:sp>
    </p:spTree>
    <p:extLst>
      <p:ext uri="{BB962C8B-B14F-4D97-AF65-F5344CB8AC3E}">
        <p14:creationId xmlns:p14="http://schemas.microsoft.com/office/powerpoint/2010/main" val="3432610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3E23A2E-C4C9-41AE-8279-4949181DB6B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1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3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pic>
        <p:nvPicPr>
          <p:cNvPr id="34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grpSp>
        <p:nvGrpSpPr>
          <p:cNvPr id="36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7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1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2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3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C7D41AD8-83A0-4D8E-ACEE-8D1A36D4133F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4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04178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sp>
        <p:nvSpPr>
          <p:cNvPr id="8" name="Rectangle 45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8EF7CB7-A1CB-43BC-8FE6-5BBB79DDDC96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58931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7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21AFBB79-0E7F-4236-9938-0F813F9C58F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5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6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7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8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9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20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1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2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4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34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Contents Title"/>
          <p:cNvSpPr txBox="1">
            <a:spLocks/>
          </p:cNvSpPr>
          <p:nvPr/>
        </p:nvSpPr>
        <p:spPr>
          <a:xfrm>
            <a:off x="681405" y="450451"/>
            <a:ext cx="7879373" cy="246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>
            <a:lvl1pPr algn="l">
              <a:lnSpc>
                <a:spcPct val="93000"/>
              </a:lnSpc>
              <a:defRPr/>
            </a:lvl1pPr>
          </a:lstStyle>
          <a:p>
            <a:pPr eaLnBrk="1" fontAlgn="auto" hangingPunct="1">
              <a:spcAft>
                <a:spcPts val="0"/>
              </a:spcAft>
              <a:tabLst>
                <a:tab pos="6399610" algn="r"/>
              </a:tabLst>
              <a:defRPr/>
            </a:pPr>
            <a:r>
              <a:rPr lang="fr-FR" altLang="de-DE" sz="1725" b="0" noProof="1">
                <a:solidFill>
                  <a:schemeClr val="tx2"/>
                </a:solidFill>
                <a:latin typeface="+mj-lt"/>
                <a:ea typeface="+mj-ea"/>
                <a:sym typeface="+mn-lt"/>
              </a:rPr>
              <a:t>Contents	Page</a:t>
            </a:r>
          </a:p>
        </p:txBody>
      </p:sp>
      <p:sp>
        <p:nvSpPr>
          <p:cNvPr id="5" name="Contents Text"/>
          <p:cNvSpPr>
            <a:spLocks noGrp="1"/>
          </p:cNvSpPr>
          <p:nvPr>
            <p:ph type="body" sz="quarter" idx="10"/>
          </p:nvPr>
        </p:nvSpPr>
        <p:spPr>
          <a:xfrm>
            <a:off x="681231" y="1282500"/>
            <a:ext cx="7879015" cy="1030539"/>
          </a:xfrm>
        </p:spPr>
        <p:txBody>
          <a:bodyPr/>
          <a:lstStyle>
            <a:lvl1pPr marL="270000" indent="-270000">
              <a:spcBef>
                <a:spcPts val="1500"/>
              </a:spcBef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cs typeface="+mn-cs"/>
                <a:sym typeface="+mn-lt"/>
              </a:defRPr>
            </a:lvl1pPr>
            <a:lvl2pPr marL="540000" indent="-270000">
              <a:spcBef>
                <a:spcPts val="450"/>
              </a:spcBef>
              <a:buNone/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sym typeface="+mn-lt"/>
              </a:defRPr>
            </a:lvl2pPr>
            <a:lvl3pPr marL="945000" indent="-405000">
              <a:spcBef>
                <a:spcPts val="0"/>
              </a:spcBef>
              <a:buNone/>
              <a:tabLst>
                <a:tab pos="6403181" algn="r"/>
              </a:tabLst>
              <a:defRPr sz="1350" b="0">
                <a:solidFill>
                  <a:schemeClr val="tx1"/>
                </a:solidFill>
                <a:latin typeface="+mn-lt"/>
                <a:sym typeface="+mn-lt"/>
              </a:defRPr>
            </a:lvl3pPr>
            <a:lvl4pPr marL="941785" indent="-401241">
              <a:buNone/>
              <a:tabLst>
                <a:tab pos="6391275" algn="r"/>
              </a:tabLst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4" name="Title"/>
          <p:cNvSpPr>
            <a:spLocks noGrp="1"/>
          </p:cNvSpPr>
          <p:nvPr>
            <p:ph type="title"/>
          </p:nvPr>
        </p:nvSpPr>
        <p:spPr>
          <a:xfrm>
            <a:off x="1213756" y="398941"/>
            <a:ext cx="731077" cy="225398"/>
          </a:xfrm>
        </p:spPr>
        <p:txBody>
          <a:bodyPr rtlCol="0" anchor="t">
            <a:noAutofit/>
          </a:bodyPr>
          <a:lstStyle>
            <a:lvl1pPr marL="0" indent="0" algn="r" defTabSz="685800" rtl="0" eaLnBrk="1" latinLnBrk="0" hangingPunct="1">
              <a:lnSpc>
                <a:spcPct val="93000"/>
              </a:lnSpc>
              <a:spcBef>
                <a:spcPct val="0"/>
              </a:spcBef>
              <a:buNone/>
              <a:tabLst/>
              <a:defRPr lang="en-US" sz="1575" b="0" kern="120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r>
              <a:rPr lang="en-US" noProof="1"/>
              <a:t>Click to edit Master title style</a:t>
            </a:r>
            <a:endParaRPr lang="fr-FR" noProof="1"/>
          </a:p>
        </p:txBody>
      </p:sp>
      <p:sp>
        <p:nvSpPr>
          <p:cNvPr id="36" name="Slide Number Placeholder" hidden="1"/>
          <p:cNvSpPr>
            <a:spLocks noGrp="1"/>
          </p:cNvSpPr>
          <p:nvPr>
            <p:ph type="sldNum" sz="quarter" idx="11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4D7479C-0AC6-4251-A9C7-DCB488F05AD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7" name="Footer Placeholder" hidden="1"/>
          <p:cNvSpPr>
            <a:spLocks noGrp="1"/>
          </p:cNvSpPr>
          <p:nvPr>
            <p:ph type="ftr" sz="quarter" idx="12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0066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osition Lines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4944208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sp>
        <p:nvSpPr>
          <p:cNvPr id="3" name="Slide Number Placeholder" hidden="1"/>
          <p:cNvSpPr>
            <a:spLocks noGrp="1"/>
          </p:cNvSpPr>
          <p:nvPr>
            <p:ph type="sldNum" sz="quarter" idx="10"/>
            <p:custDataLst>
              <p:tags r:id="rId2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E14EBFB-DD46-4A40-97B4-32C14927DECE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" name="Footer Placeholder" hidden="1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9916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sclaimer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9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F5BFD27-B77C-4C44-A6E1-6113D39C443D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B Logo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81405" y="406003"/>
            <a:ext cx="1989992" cy="452438"/>
          </a:xfrm>
          <a:custGeom>
            <a:avLst/>
            <a:gdLst/>
            <a:ahLst/>
            <a:cxnLst>
              <a:cxn ang="0">
                <a:pos x="4020" y="1266"/>
              </a:cxn>
              <a:cxn ang="0">
                <a:pos x="1187" y="1205"/>
              </a:cxn>
              <a:cxn ang="0">
                <a:pos x="2614" y="1329"/>
              </a:cxn>
              <a:cxn ang="0">
                <a:pos x="1550" y="1201"/>
              </a:cxn>
              <a:cxn ang="0">
                <a:pos x="1702" y="1118"/>
              </a:cxn>
              <a:cxn ang="0">
                <a:pos x="1825" y="1102"/>
              </a:cxn>
              <a:cxn ang="0">
                <a:pos x="4764" y="1271"/>
              </a:cxn>
              <a:cxn ang="0">
                <a:pos x="4815" y="1074"/>
              </a:cxn>
              <a:cxn ang="0">
                <a:pos x="4919" y="1282"/>
              </a:cxn>
              <a:cxn ang="0">
                <a:pos x="4078" y="1190"/>
              </a:cxn>
              <a:cxn ang="0">
                <a:pos x="4189" y="1345"/>
              </a:cxn>
              <a:cxn ang="0">
                <a:pos x="3412" y="1332"/>
              </a:cxn>
              <a:cxn ang="0">
                <a:pos x="3198" y="1130"/>
              </a:cxn>
              <a:cxn ang="0">
                <a:pos x="3080" y="1274"/>
              </a:cxn>
              <a:cxn ang="0">
                <a:pos x="3154" y="1073"/>
              </a:cxn>
              <a:cxn ang="0">
                <a:pos x="2485" y="1291"/>
              </a:cxn>
              <a:cxn ang="0">
                <a:pos x="1464" y="1315"/>
              </a:cxn>
              <a:cxn ang="0">
                <a:pos x="1405" y="1365"/>
              </a:cxn>
              <a:cxn ang="0">
                <a:pos x="1177" y="1256"/>
              </a:cxn>
              <a:cxn ang="0">
                <a:pos x="1153" y="1311"/>
              </a:cxn>
              <a:cxn ang="0">
                <a:pos x="810" y="1357"/>
              </a:cxn>
              <a:cxn ang="0">
                <a:pos x="718" y="1110"/>
              </a:cxn>
              <a:cxn ang="0">
                <a:pos x="2871" y="1360"/>
              </a:cxn>
              <a:cxn ang="0">
                <a:pos x="2976" y="1112"/>
              </a:cxn>
              <a:cxn ang="0">
                <a:pos x="601" y="1361"/>
              </a:cxn>
              <a:cxn ang="0">
                <a:pos x="4423" y="1081"/>
              </a:cxn>
              <a:cxn ang="0">
                <a:pos x="4325" y="1334"/>
              </a:cxn>
              <a:cxn ang="0">
                <a:pos x="4695" y="1345"/>
              </a:cxn>
              <a:cxn ang="0">
                <a:pos x="3907" y="1357"/>
              </a:cxn>
              <a:cxn ang="0">
                <a:pos x="1073" y="1362"/>
              </a:cxn>
              <a:cxn ang="0">
                <a:pos x="353" y="1366"/>
              </a:cxn>
              <a:cxn ang="0">
                <a:pos x="3644" y="1326"/>
              </a:cxn>
              <a:cxn ang="0">
                <a:pos x="2189" y="989"/>
              </a:cxn>
              <a:cxn ang="0">
                <a:pos x="2190" y="1041"/>
              </a:cxn>
              <a:cxn ang="0">
                <a:pos x="2382" y="1245"/>
              </a:cxn>
              <a:cxn ang="0">
                <a:pos x="77" y="1002"/>
              </a:cxn>
              <a:cxn ang="0">
                <a:pos x="190" y="1343"/>
              </a:cxn>
              <a:cxn ang="0">
                <a:pos x="155" y="1206"/>
              </a:cxn>
              <a:cxn ang="0">
                <a:pos x="1459" y="483"/>
              </a:cxn>
              <a:cxn ang="0">
                <a:pos x="4349" y="545"/>
              </a:cxn>
              <a:cxn ang="0">
                <a:pos x="2491" y="584"/>
              </a:cxn>
              <a:cxn ang="0">
                <a:pos x="5067" y="774"/>
              </a:cxn>
              <a:cxn ang="0">
                <a:pos x="4696" y="216"/>
              </a:cxn>
              <a:cxn ang="0">
                <a:pos x="4606" y="664"/>
              </a:cxn>
              <a:cxn ang="0">
                <a:pos x="4228" y="754"/>
              </a:cxn>
              <a:cxn ang="0">
                <a:pos x="4153" y="320"/>
              </a:cxn>
              <a:cxn ang="0">
                <a:pos x="3635" y="640"/>
              </a:cxn>
              <a:cxn ang="0">
                <a:pos x="3329" y="487"/>
              </a:cxn>
              <a:cxn ang="0">
                <a:pos x="3708" y="186"/>
              </a:cxn>
              <a:cxn ang="0">
                <a:pos x="2096" y="133"/>
              </a:cxn>
              <a:cxn ang="0">
                <a:pos x="1258" y="698"/>
              </a:cxn>
              <a:cxn ang="0">
                <a:pos x="1366" y="292"/>
              </a:cxn>
              <a:cxn ang="0">
                <a:pos x="844" y="144"/>
              </a:cxn>
              <a:cxn ang="0">
                <a:pos x="885" y="772"/>
              </a:cxn>
              <a:cxn ang="0">
                <a:pos x="532" y="282"/>
              </a:cxn>
              <a:cxn ang="0">
                <a:pos x="3064" y="133"/>
              </a:cxn>
              <a:cxn ang="0">
                <a:pos x="5329" y="195"/>
              </a:cxn>
              <a:cxn ang="0">
                <a:pos x="3147" y="6"/>
              </a:cxn>
              <a:cxn ang="0">
                <a:pos x="3257" y="419"/>
              </a:cxn>
              <a:cxn ang="0">
                <a:pos x="2475" y="770"/>
              </a:cxn>
              <a:cxn ang="0">
                <a:pos x="2248" y="226"/>
              </a:cxn>
              <a:cxn ang="0">
                <a:pos x="409" y="27"/>
              </a:cxn>
              <a:cxn ang="0">
                <a:pos x="452" y="545"/>
              </a:cxn>
            </a:cxnLst>
            <a:rect l="0" t="0" r="r" b="b"/>
            <a:pathLst>
              <a:path w="5445" h="1483">
                <a:moveTo>
                  <a:pt x="1515" y="1355"/>
                </a:moveTo>
                <a:lnTo>
                  <a:pt x="1512" y="1355"/>
                </a:lnTo>
                <a:lnTo>
                  <a:pt x="1510" y="1355"/>
                </a:lnTo>
                <a:lnTo>
                  <a:pt x="1505" y="1355"/>
                </a:lnTo>
                <a:lnTo>
                  <a:pt x="1488" y="1356"/>
                </a:lnTo>
                <a:lnTo>
                  <a:pt x="1483" y="1357"/>
                </a:lnTo>
                <a:lnTo>
                  <a:pt x="1481" y="1357"/>
                </a:lnTo>
                <a:lnTo>
                  <a:pt x="1477" y="1359"/>
                </a:lnTo>
                <a:lnTo>
                  <a:pt x="1476" y="1359"/>
                </a:lnTo>
                <a:lnTo>
                  <a:pt x="1473" y="1360"/>
                </a:lnTo>
                <a:lnTo>
                  <a:pt x="1471" y="1360"/>
                </a:lnTo>
                <a:lnTo>
                  <a:pt x="1470" y="1361"/>
                </a:lnTo>
                <a:lnTo>
                  <a:pt x="1467" y="1361"/>
                </a:lnTo>
                <a:lnTo>
                  <a:pt x="1466" y="1362"/>
                </a:lnTo>
                <a:lnTo>
                  <a:pt x="1463" y="1363"/>
                </a:lnTo>
                <a:lnTo>
                  <a:pt x="1460" y="1365"/>
                </a:lnTo>
                <a:lnTo>
                  <a:pt x="1458" y="1366"/>
                </a:lnTo>
                <a:lnTo>
                  <a:pt x="1456" y="1367"/>
                </a:lnTo>
                <a:lnTo>
                  <a:pt x="1454" y="1368"/>
                </a:lnTo>
                <a:lnTo>
                  <a:pt x="1450" y="1372"/>
                </a:lnTo>
                <a:lnTo>
                  <a:pt x="1448" y="1374"/>
                </a:lnTo>
                <a:lnTo>
                  <a:pt x="1447" y="1377"/>
                </a:lnTo>
                <a:lnTo>
                  <a:pt x="1446" y="1379"/>
                </a:lnTo>
                <a:lnTo>
                  <a:pt x="1444" y="1383"/>
                </a:lnTo>
                <a:lnTo>
                  <a:pt x="1443" y="1387"/>
                </a:lnTo>
                <a:lnTo>
                  <a:pt x="1442" y="1389"/>
                </a:lnTo>
                <a:lnTo>
                  <a:pt x="1441" y="1396"/>
                </a:lnTo>
                <a:lnTo>
                  <a:pt x="1441" y="1402"/>
                </a:lnTo>
                <a:lnTo>
                  <a:pt x="1442" y="1410"/>
                </a:lnTo>
                <a:lnTo>
                  <a:pt x="1444" y="1415"/>
                </a:lnTo>
                <a:lnTo>
                  <a:pt x="1444" y="1417"/>
                </a:lnTo>
                <a:lnTo>
                  <a:pt x="1446" y="1420"/>
                </a:lnTo>
                <a:lnTo>
                  <a:pt x="1446" y="1421"/>
                </a:lnTo>
                <a:lnTo>
                  <a:pt x="1447" y="1424"/>
                </a:lnTo>
                <a:lnTo>
                  <a:pt x="1448" y="1426"/>
                </a:lnTo>
                <a:lnTo>
                  <a:pt x="1449" y="1427"/>
                </a:lnTo>
                <a:lnTo>
                  <a:pt x="1452" y="1429"/>
                </a:lnTo>
                <a:lnTo>
                  <a:pt x="1455" y="1433"/>
                </a:lnTo>
                <a:lnTo>
                  <a:pt x="1456" y="1434"/>
                </a:lnTo>
                <a:lnTo>
                  <a:pt x="1459" y="1437"/>
                </a:lnTo>
                <a:lnTo>
                  <a:pt x="1461" y="1438"/>
                </a:lnTo>
                <a:lnTo>
                  <a:pt x="1463" y="1439"/>
                </a:lnTo>
                <a:lnTo>
                  <a:pt x="1465" y="1439"/>
                </a:lnTo>
                <a:lnTo>
                  <a:pt x="1467" y="1442"/>
                </a:lnTo>
                <a:lnTo>
                  <a:pt x="1472" y="1444"/>
                </a:lnTo>
                <a:lnTo>
                  <a:pt x="1475" y="1444"/>
                </a:lnTo>
                <a:lnTo>
                  <a:pt x="1477" y="1445"/>
                </a:lnTo>
                <a:lnTo>
                  <a:pt x="1478" y="1446"/>
                </a:lnTo>
                <a:lnTo>
                  <a:pt x="1481" y="1446"/>
                </a:lnTo>
                <a:lnTo>
                  <a:pt x="1482" y="1448"/>
                </a:lnTo>
                <a:lnTo>
                  <a:pt x="1484" y="1448"/>
                </a:lnTo>
                <a:lnTo>
                  <a:pt x="1487" y="1449"/>
                </a:lnTo>
                <a:lnTo>
                  <a:pt x="1489" y="1449"/>
                </a:lnTo>
                <a:lnTo>
                  <a:pt x="1492" y="1450"/>
                </a:lnTo>
                <a:lnTo>
                  <a:pt x="1495" y="1450"/>
                </a:lnTo>
                <a:lnTo>
                  <a:pt x="1506" y="1452"/>
                </a:lnTo>
                <a:lnTo>
                  <a:pt x="1512" y="1452"/>
                </a:lnTo>
                <a:lnTo>
                  <a:pt x="1516" y="1452"/>
                </a:lnTo>
                <a:lnTo>
                  <a:pt x="1519" y="1452"/>
                </a:lnTo>
                <a:lnTo>
                  <a:pt x="1527" y="1452"/>
                </a:lnTo>
                <a:lnTo>
                  <a:pt x="1535" y="1452"/>
                </a:lnTo>
                <a:lnTo>
                  <a:pt x="1545" y="1451"/>
                </a:lnTo>
                <a:lnTo>
                  <a:pt x="1547" y="1450"/>
                </a:lnTo>
                <a:lnTo>
                  <a:pt x="1550" y="1450"/>
                </a:lnTo>
                <a:lnTo>
                  <a:pt x="1553" y="1449"/>
                </a:lnTo>
                <a:lnTo>
                  <a:pt x="1556" y="1449"/>
                </a:lnTo>
                <a:lnTo>
                  <a:pt x="1558" y="1448"/>
                </a:lnTo>
                <a:lnTo>
                  <a:pt x="1559" y="1448"/>
                </a:lnTo>
                <a:lnTo>
                  <a:pt x="1562" y="1446"/>
                </a:lnTo>
                <a:lnTo>
                  <a:pt x="1563" y="1446"/>
                </a:lnTo>
                <a:lnTo>
                  <a:pt x="1564" y="1445"/>
                </a:lnTo>
                <a:lnTo>
                  <a:pt x="1566" y="1445"/>
                </a:lnTo>
                <a:lnTo>
                  <a:pt x="1569" y="1444"/>
                </a:lnTo>
                <a:lnTo>
                  <a:pt x="1573" y="1442"/>
                </a:lnTo>
                <a:lnTo>
                  <a:pt x="1576" y="1440"/>
                </a:lnTo>
                <a:lnTo>
                  <a:pt x="1579" y="1439"/>
                </a:lnTo>
                <a:lnTo>
                  <a:pt x="1581" y="1438"/>
                </a:lnTo>
                <a:lnTo>
                  <a:pt x="1582" y="1437"/>
                </a:lnTo>
                <a:lnTo>
                  <a:pt x="1583" y="1434"/>
                </a:lnTo>
                <a:lnTo>
                  <a:pt x="1587" y="1432"/>
                </a:lnTo>
                <a:lnTo>
                  <a:pt x="1592" y="1427"/>
                </a:lnTo>
                <a:lnTo>
                  <a:pt x="1594" y="1424"/>
                </a:lnTo>
                <a:lnTo>
                  <a:pt x="1595" y="1423"/>
                </a:lnTo>
                <a:lnTo>
                  <a:pt x="1595" y="1421"/>
                </a:lnTo>
                <a:lnTo>
                  <a:pt x="1598" y="1418"/>
                </a:lnTo>
                <a:lnTo>
                  <a:pt x="1598" y="1417"/>
                </a:lnTo>
                <a:lnTo>
                  <a:pt x="1599" y="1415"/>
                </a:lnTo>
                <a:lnTo>
                  <a:pt x="1600" y="1411"/>
                </a:lnTo>
                <a:lnTo>
                  <a:pt x="1600" y="1409"/>
                </a:lnTo>
                <a:lnTo>
                  <a:pt x="1602" y="1406"/>
                </a:lnTo>
                <a:lnTo>
                  <a:pt x="1602" y="1400"/>
                </a:lnTo>
                <a:lnTo>
                  <a:pt x="1603" y="1398"/>
                </a:lnTo>
                <a:lnTo>
                  <a:pt x="1603" y="1394"/>
                </a:lnTo>
                <a:lnTo>
                  <a:pt x="1602" y="1389"/>
                </a:lnTo>
                <a:lnTo>
                  <a:pt x="1602" y="1387"/>
                </a:lnTo>
                <a:lnTo>
                  <a:pt x="1597" y="1377"/>
                </a:lnTo>
                <a:lnTo>
                  <a:pt x="1592" y="1372"/>
                </a:lnTo>
                <a:lnTo>
                  <a:pt x="1589" y="1370"/>
                </a:lnTo>
                <a:lnTo>
                  <a:pt x="1582" y="1366"/>
                </a:lnTo>
                <a:lnTo>
                  <a:pt x="1575" y="1362"/>
                </a:lnTo>
                <a:lnTo>
                  <a:pt x="1565" y="1360"/>
                </a:lnTo>
                <a:lnTo>
                  <a:pt x="1562" y="1359"/>
                </a:lnTo>
                <a:lnTo>
                  <a:pt x="1557" y="1357"/>
                </a:lnTo>
                <a:lnTo>
                  <a:pt x="1546" y="1356"/>
                </a:lnTo>
                <a:lnTo>
                  <a:pt x="1536" y="1355"/>
                </a:lnTo>
                <a:lnTo>
                  <a:pt x="1515" y="1355"/>
                </a:lnTo>
                <a:close/>
                <a:moveTo>
                  <a:pt x="4110" y="1217"/>
                </a:moveTo>
                <a:lnTo>
                  <a:pt x="4104" y="1217"/>
                </a:lnTo>
                <a:lnTo>
                  <a:pt x="4098" y="1219"/>
                </a:lnTo>
                <a:lnTo>
                  <a:pt x="4094" y="1219"/>
                </a:lnTo>
                <a:lnTo>
                  <a:pt x="4090" y="1219"/>
                </a:lnTo>
                <a:lnTo>
                  <a:pt x="4088" y="1219"/>
                </a:lnTo>
                <a:lnTo>
                  <a:pt x="4085" y="1221"/>
                </a:lnTo>
                <a:lnTo>
                  <a:pt x="4083" y="1221"/>
                </a:lnTo>
                <a:lnTo>
                  <a:pt x="4062" y="1227"/>
                </a:lnTo>
                <a:lnTo>
                  <a:pt x="4059" y="1228"/>
                </a:lnTo>
                <a:lnTo>
                  <a:pt x="4056" y="1229"/>
                </a:lnTo>
                <a:lnTo>
                  <a:pt x="4054" y="1230"/>
                </a:lnTo>
                <a:lnTo>
                  <a:pt x="4049" y="1233"/>
                </a:lnTo>
                <a:lnTo>
                  <a:pt x="4044" y="1235"/>
                </a:lnTo>
                <a:lnTo>
                  <a:pt x="4043" y="1236"/>
                </a:lnTo>
                <a:lnTo>
                  <a:pt x="4042" y="1238"/>
                </a:lnTo>
                <a:lnTo>
                  <a:pt x="4039" y="1239"/>
                </a:lnTo>
                <a:lnTo>
                  <a:pt x="4038" y="1240"/>
                </a:lnTo>
                <a:lnTo>
                  <a:pt x="4035" y="1244"/>
                </a:lnTo>
                <a:lnTo>
                  <a:pt x="4029" y="1249"/>
                </a:lnTo>
                <a:lnTo>
                  <a:pt x="4027" y="1251"/>
                </a:lnTo>
                <a:lnTo>
                  <a:pt x="4026" y="1254"/>
                </a:lnTo>
                <a:lnTo>
                  <a:pt x="4025" y="1256"/>
                </a:lnTo>
                <a:lnTo>
                  <a:pt x="4024" y="1257"/>
                </a:lnTo>
                <a:lnTo>
                  <a:pt x="4023" y="1260"/>
                </a:lnTo>
                <a:lnTo>
                  <a:pt x="4021" y="1262"/>
                </a:lnTo>
                <a:lnTo>
                  <a:pt x="4021" y="1263"/>
                </a:lnTo>
                <a:lnTo>
                  <a:pt x="4020" y="1266"/>
                </a:lnTo>
                <a:lnTo>
                  <a:pt x="4019" y="1272"/>
                </a:lnTo>
                <a:lnTo>
                  <a:pt x="4018" y="1274"/>
                </a:lnTo>
                <a:lnTo>
                  <a:pt x="4018" y="1278"/>
                </a:lnTo>
                <a:lnTo>
                  <a:pt x="4017" y="1283"/>
                </a:lnTo>
                <a:lnTo>
                  <a:pt x="4017" y="1289"/>
                </a:lnTo>
                <a:lnTo>
                  <a:pt x="4017" y="1293"/>
                </a:lnTo>
                <a:lnTo>
                  <a:pt x="4017" y="1295"/>
                </a:lnTo>
                <a:lnTo>
                  <a:pt x="4017" y="1299"/>
                </a:lnTo>
                <a:lnTo>
                  <a:pt x="4020" y="1308"/>
                </a:lnTo>
                <a:lnTo>
                  <a:pt x="4021" y="1311"/>
                </a:lnTo>
                <a:lnTo>
                  <a:pt x="4023" y="1313"/>
                </a:lnTo>
                <a:lnTo>
                  <a:pt x="4025" y="1316"/>
                </a:lnTo>
                <a:lnTo>
                  <a:pt x="4027" y="1317"/>
                </a:lnTo>
                <a:lnTo>
                  <a:pt x="4029" y="1321"/>
                </a:lnTo>
                <a:lnTo>
                  <a:pt x="4032" y="1323"/>
                </a:lnTo>
                <a:lnTo>
                  <a:pt x="4033" y="1324"/>
                </a:lnTo>
                <a:lnTo>
                  <a:pt x="4036" y="1324"/>
                </a:lnTo>
                <a:lnTo>
                  <a:pt x="4038" y="1326"/>
                </a:lnTo>
                <a:lnTo>
                  <a:pt x="4041" y="1327"/>
                </a:lnTo>
                <a:lnTo>
                  <a:pt x="4050" y="1330"/>
                </a:lnTo>
                <a:lnTo>
                  <a:pt x="4056" y="1330"/>
                </a:lnTo>
                <a:lnTo>
                  <a:pt x="4062" y="1330"/>
                </a:lnTo>
                <a:lnTo>
                  <a:pt x="4068" y="1329"/>
                </a:lnTo>
                <a:lnTo>
                  <a:pt x="4073" y="1328"/>
                </a:lnTo>
                <a:lnTo>
                  <a:pt x="4076" y="1328"/>
                </a:lnTo>
                <a:lnTo>
                  <a:pt x="4078" y="1327"/>
                </a:lnTo>
                <a:lnTo>
                  <a:pt x="4082" y="1324"/>
                </a:lnTo>
                <a:lnTo>
                  <a:pt x="4085" y="1323"/>
                </a:lnTo>
                <a:lnTo>
                  <a:pt x="4087" y="1322"/>
                </a:lnTo>
                <a:lnTo>
                  <a:pt x="4089" y="1321"/>
                </a:lnTo>
                <a:lnTo>
                  <a:pt x="4090" y="1319"/>
                </a:lnTo>
                <a:lnTo>
                  <a:pt x="4096" y="1313"/>
                </a:lnTo>
                <a:lnTo>
                  <a:pt x="4099" y="1312"/>
                </a:lnTo>
                <a:lnTo>
                  <a:pt x="4100" y="1310"/>
                </a:lnTo>
                <a:lnTo>
                  <a:pt x="4101" y="1307"/>
                </a:lnTo>
                <a:lnTo>
                  <a:pt x="4102" y="1306"/>
                </a:lnTo>
                <a:lnTo>
                  <a:pt x="4102" y="1304"/>
                </a:lnTo>
                <a:lnTo>
                  <a:pt x="4105" y="1300"/>
                </a:lnTo>
                <a:lnTo>
                  <a:pt x="4105" y="1299"/>
                </a:lnTo>
                <a:lnTo>
                  <a:pt x="4107" y="1294"/>
                </a:lnTo>
                <a:lnTo>
                  <a:pt x="4107" y="1291"/>
                </a:lnTo>
                <a:lnTo>
                  <a:pt x="4110" y="1283"/>
                </a:lnTo>
                <a:lnTo>
                  <a:pt x="4110" y="1278"/>
                </a:lnTo>
                <a:lnTo>
                  <a:pt x="4110" y="1273"/>
                </a:lnTo>
                <a:lnTo>
                  <a:pt x="4110" y="1267"/>
                </a:lnTo>
                <a:lnTo>
                  <a:pt x="4110" y="1257"/>
                </a:lnTo>
                <a:lnTo>
                  <a:pt x="4110" y="1217"/>
                </a:lnTo>
                <a:close/>
                <a:moveTo>
                  <a:pt x="835" y="1217"/>
                </a:moveTo>
                <a:lnTo>
                  <a:pt x="829" y="1217"/>
                </a:lnTo>
                <a:lnTo>
                  <a:pt x="823" y="1219"/>
                </a:lnTo>
                <a:lnTo>
                  <a:pt x="817" y="1219"/>
                </a:lnTo>
                <a:lnTo>
                  <a:pt x="815" y="1219"/>
                </a:lnTo>
                <a:lnTo>
                  <a:pt x="811" y="1221"/>
                </a:lnTo>
                <a:lnTo>
                  <a:pt x="809" y="1221"/>
                </a:lnTo>
                <a:lnTo>
                  <a:pt x="806" y="1222"/>
                </a:lnTo>
                <a:lnTo>
                  <a:pt x="804" y="1222"/>
                </a:lnTo>
                <a:lnTo>
                  <a:pt x="799" y="1223"/>
                </a:lnTo>
                <a:lnTo>
                  <a:pt x="794" y="1224"/>
                </a:lnTo>
                <a:lnTo>
                  <a:pt x="793" y="1225"/>
                </a:lnTo>
                <a:lnTo>
                  <a:pt x="786" y="1228"/>
                </a:lnTo>
                <a:lnTo>
                  <a:pt x="781" y="1229"/>
                </a:lnTo>
                <a:lnTo>
                  <a:pt x="778" y="1230"/>
                </a:lnTo>
                <a:lnTo>
                  <a:pt x="777" y="1232"/>
                </a:lnTo>
                <a:lnTo>
                  <a:pt x="774" y="1233"/>
                </a:lnTo>
                <a:lnTo>
                  <a:pt x="771" y="1234"/>
                </a:lnTo>
                <a:lnTo>
                  <a:pt x="766" y="1236"/>
                </a:lnTo>
                <a:lnTo>
                  <a:pt x="765" y="1238"/>
                </a:lnTo>
                <a:lnTo>
                  <a:pt x="764" y="1239"/>
                </a:lnTo>
                <a:lnTo>
                  <a:pt x="763" y="1240"/>
                </a:lnTo>
                <a:lnTo>
                  <a:pt x="758" y="1244"/>
                </a:lnTo>
                <a:lnTo>
                  <a:pt x="755" y="1246"/>
                </a:lnTo>
                <a:lnTo>
                  <a:pt x="752" y="1250"/>
                </a:lnTo>
                <a:lnTo>
                  <a:pt x="751" y="1251"/>
                </a:lnTo>
                <a:lnTo>
                  <a:pt x="749" y="1254"/>
                </a:lnTo>
                <a:lnTo>
                  <a:pt x="748" y="1255"/>
                </a:lnTo>
                <a:lnTo>
                  <a:pt x="748" y="1257"/>
                </a:lnTo>
                <a:lnTo>
                  <a:pt x="746" y="1262"/>
                </a:lnTo>
                <a:lnTo>
                  <a:pt x="745" y="1263"/>
                </a:lnTo>
                <a:lnTo>
                  <a:pt x="743" y="1267"/>
                </a:lnTo>
                <a:lnTo>
                  <a:pt x="743" y="1269"/>
                </a:lnTo>
                <a:lnTo>
                  <a:pt x="742" y="1272"/>
                </a:lnTo>
                <a:lnTo>
                  <a:pt x="742" y="1274"/>
                </a:lnTo>
                <a:lnTo>
                  <a:pt x="741" y="1278"/>
                </a:lnTo>
                <a:lnTo>
                  <a:pt x="741" y="1283"/>
                </a:lnTo>
                <a:lnTo>
                  <a:pt x="740" y="1289"/>
                </a:lnTo>
                <a:lnTo>
                  <a:pt x="740" y="1293"/>
                </a:lnTo>
                <a:lnTo>
                  <a:pt x="740" y="1296"/>
                </a:lnTo>
                <a:lnTo>
                  <a:pt x="741" y="1300"/>
                </a:lnTo>
                <a:lnTo>
                  <a:pt x="741" y="1302"/>
                </a:lnTo>
                <a:lnTo>
                  <a:pt x="743" y="1307"/>
                </a:lnTo>
                <a:lnTo>
                  <a:pt x="745" y="1311"/>
                </a:lnTo>
                <a:lnTo>
                  <a:pt x="747" y="1315"/>
                </a:lnTo>
                <a:lnTo>
                  <a:pt x="748" y="1316"/>
                </a:lnTo>
                <a:lnTo>
                  <a:pt x="749" y="1317"/>
                </a:lnTo>
                <a:lnTo>
                  <a:pt x="752" y="1321"/>
                </a:lnTo>
                <a:lnTo>
                  <a:pt x="753" y="1322"/>
                </a:lnTo>
                <a:lnTo>
                  <a:pt x="755" y="1323"/>
                </a:lnTo>
                <a:lnTo>
                  <a:pt x="757" y="1324"/>
                </a:lnTo>
                <a:lnTo>
                  <a:pt x="759" y="1326"/>
                </a:lnTo>
                <a:lnTo>
                  <a:pt x="761" y="1327"/>
                </a:lnTo>
                <a:lnTo>
                  <a:pt x="764" y="1328"/>
                </a:lnTo>
                <a:lnTo>
                  <a:pt x="766" y="1329"/>
                </a:lnTo>
                <a:lnTo>
                  <a:pt x="770" y="1330"/>
                </a:lnTo>
                <a:lnTo>
                  <a:pt x="774" y="1330"/>
                </a:lnTo>
                <a:lnTo>
                  <a:pt x="778" y="1332"/>
                </a:lnTo>
                <a:lnTo>
                  <a:pt x="781" y="1332"/>
                </a:lnTo>
                <a:lnTo>
                  <a:pt x="786" y="1332"/>
                </a:lnTo>
                <a:lnTo>
                  <a:pt x="792" y="1330"/>
                </a:lnTo>
                <a:lnTo>
                  <a:pt x="794" y="1330"/>
                </a:lnTo>
                <a:lnTo>
                  <a:pt x="797" y="1330"/>
                </a:lnTo>
                <a:lnTo>
                  <a:pt x="799" y="1329"/>
                </a:lnTo>
                <a:lnTo>
                  <a:pt x="801" y="1328"/>
                </a:lnTo>
                <a:lnTo>
                  <a:pt x="805" y="1327"/>
                </a:lnTo>
                <a:lnTo>
                  <a:pt x="807" y="1326"/>
                </a:lnTo>
                <a:lnTo>
                  <a:pt x="811" y="1323"/>
                </a:lnTo>
                <a:lnTo>
                  <a:pt x="812" y="1322"/>
                </a:lnTo>
                <a:lnTo>
                  <a:pt x="813" y="1321"/>
                </a:lnTo>
                <a:lnTo>
                  <a:pt x="817" y="1318"/>
                </a:lnTo>
                <a:lnTo>
                  <a:pt x="821" y="1315"/>
                </a:lnTo>
                <a:lnTo>
                  <a:pt x="822" y="1313"/>
                </a:lnTo>
                <a:lnTo>
                  <a:pt x="824" y="1311"/>
                </a:lnTo>
                <a:lnTo>
                  <a:pt x="826" y="1310"/>
                </a:lnTo>
                <a:lnTo>
                  <a:pt x="827" y="1307"/>
                </a:lnTo>
                <a:lnTo>
                  <a:pt x="827" y="1306"/>
                </a:lnTo>
                <a:lnTo>
                  <a:pt x="830" y="1300"/>
                </a:lnTo>
                <a:lnTo>
                  <a:pt x="833" y="1293"/>
                </a:lnTo>
                <a:lnTo>
                  <a:pt x="834" y="1287"/>
                </a:lnTo>
                <a:lnTo>
                  <a:pt x="834" y="1280"/>
                </a:lnTo>
                <a:lnTo>
                  <a:pt x="835" y="1266"/>
                </a:lnTo>
                <a:lnTo>
                  <a:pt x="835" y="1217"/>
                </a:lnTo>
                <a:close/>
                <a:moveTo>
                  <a:pt x="1172" y="1208"/>
                </a:moveTo>
                <a:lnTo>
                  <a:pt x="1177" y="1208"/>
                </a:lnTo>
                <a:lnTo>
                  <a:pt x="1181" y="1207"/>
                </a:lnTo>
                <a:lnTo>
                  <a:pt x="1187" y="1205"/>
                </a:lnTo>
                <a:lnTo>
                  <a:pt x="1192" y="1205"/>
                </a:lnTo>
                <a:lnTo>
                  <a:pt x="1201" y="1202"/>
                </a:lnTo>
                <a:lnTo>
                  <a:pt x="1206" y="1201"/>
                </a:lnTo>
                <a:lnTo>
                  <a:pt x="1211" y="1200"/>
                </a:lnTo>
                <a:lnTo>
                  <a:pt x="1214" y="1200"/>
                </a:lnTo>
                <a:lnTo>
                  <a:pt x="1216" y="1199"/>
                </a:lnTo>
                <a:lnTo>
                  <a:pt x="1218" y="1199"/>
                </a:lnTo>
                <a:lnTo>
                  <a:pt x="1221" y="1197"/>
                </a:lnTo>
                <a:lnTo>
                  <a:pt x="1227" y="1196"/>
                </a:lnTo>
                <a:lnTo>
                  <a:pt x="1234" y="1194"/>
                </a:lnTo>
                <a:lnTo>
                  <a:pt x="1249" y="1190"/>
                </a:lnTo>
                <a:lnTo>
                  <a:pt x="1256" y="1189"/>
                </a:lnTo>
                <a:lnTo>
                  <a:pt x="1274" y="1184"/>
                </a:lnTo>
                <a:lnTo>
                  <a:pt x="1281" y="1183"/>
                </a:lnTo>
                <a:lnTo>
                  <a:pt x="1296" y="1178"/>
                </a:lnTo>
                <a:lnTo>
                  <a:pt x="1297" y="1177"/>
                </a:lnTo>
                <a:lnTo>
                  <a:pt x="1298" y="1167"/>
                </a:lnTo>
                <a:lnTo>
                  <a:pt x="1298" y="1161"/>
                </a:lnTo>
                <a:lnTo>
                  <a:pt x="1295" y="1149"/>
                </a:lnTo>
                <a:lnTo>
                  <a:pt x="1293" y="1146"/>
                </a:lnTo>
                <a:lnTo>
                  <a:pt x="1292" y="1144"/>
                </a:lnTo>
                <a:lnTo>
                  <a:pt x="1292" y="1143"/>
                </a:lnTo>
                <a:lnTo>
                  <a:pt x="1291" y="1140"/>
                </a:lnTo>
                <a:lnTo>
                  <a:pt x="1288" y="1138"/>
                </a:lnTo>
                <a:lnTo>
                  <a:pt x="1288" y="1135"/>
                </a:lnTo>
                <a:lnTo>
                  <a:pt x="1287" y="1134"/>
                </a:lnTo>
                <a:lnTo>
                  <a:pt x="1286" y="1132"/>
                </a:lnTo>
                <a:lnTo>
                  <a:pt x="1285" y="1130"/>
                </a:lnTo>
                <a:lnTo>
                  <a:pt x="1284" y="1129"/>
                </a:lnTo>
                <a:lnTo>
                  <a:pt x="1280" y="1125"/>
                </a:lnTo>
                <a:lnTo>
                  <a:pt x="1274" y="1119"/>
                </a:lnTo>
                <a:lnTo>
                  <a:pt x="1273" y="1117"/>
                </a:lnTo>
                <a:lnTo>
                  <a:pt x="1270" y="1117"/>
                </a:lnTo>
                <a:lnTo>
                  <a:pt x="1269" y="1116"/>
                </a:lnTo>
                <a:lnTo>
                  <a:pt x="1267" y="1114"/>
                </a:lnTo>
                <a:lnTo>
                  <a:pt x="1262" y="1112"/>
                </a:lnTo>
                <a:lnTo>
                  <a:pt x="1259" y="1112"/>
                </a:lnTo>
                <a:lnTo>
                  <a:pt x="1258" y="1111"/>
                </a:lnTo>
                <a:lnTo>
                  <a:pt x="1257" y="1111"/>
                </a:lnTo>
                <a:lnTo>
                  <a:pt x="1255" y="1110"/>
                </a:lnTo>
                <a:lnTo>
                  <a:pt x="1251" y="1110"/>
                </a:lnTo>
                <a:lnTo>
                  <a:pt x="1246" y="1108"/>
                </a:lnTo>
                <a:lnTo>
                  <a:pt x="1238" y="1108"/>
                </a:lnTo>
                <a:lnTo>
                  <a:pt x="1233" y="1110"/>
                </a:lnTo>
                <a:lnTo>
                  <a:pt x="1230" y="1110"/>
                </a:lnTo>
                <a:lnTo>
                  <a:pt x="1229" y="1111"/>
                </a:lnTo>
                <a:lnTo>
                  <a:pt x="1224" y="1112"/>
                </a:lnTo>
                <a:lnTo>
                  <a:pt x="1222" y="1113"/>
                </a:lnTo>
                <a:lnTo>
                  <a:pt x="1218" y="1114"/>
                </a:lnTo>
                <a:lnTo>
                  <a:pt x="1215" y="1117"/>
                </a:lnTo>
                <a:lnTo>
                  <a:pt x="1212" y="1118"/>
                </a:lnTo>
                <a:lnTo>
                  <a:pt x="1210" y="1119"/>
                </a:lnTo>
                <a:lnTo>
                  <a:pt x="1209" y="1121"/>
                </a:lnTo>
                <a:lnTo>
                  <a:pt x="1206" y="1123"/>
                </a:lnTo>
                <a:lnTo>
                  <a:pt x="1203" y="1127"/>
                </a:lnTo>
                <a:lnTo>
                  <a:pt x="1198" y="1132"/>
                </a:lnTo>
                <a:lnTo>
                  <a:pt x="1195" y="1134"/>
                </a:lnTo>
                <a:lnTo>
                  <a:pt x="1193" y="1136"/>
                </a:lnTo>
                <a:lnTo>
                  <a:pt x="1192" y="1139"/>
                </a:lnTo>
                <a:lnTo>
                  <a:pt x="1191" y="1140"/>
                </a:lnTo>
                <a:lnTo>
                  <a:pt x="1189" y="1143"/>
                </a:lnTo>
                <a:lnTo>
                  <a:pt x="1186" y="1150"/>
                </a:lnTo>
                <a:lnTo>
                  <a:pt x="1182" y="1156"/>
                </a:lnTo>
                <a:lnTo>
                  <a:pt x="1180" y="1163"/>
                </a:lnTo>
                <a:lnTo>
                  <a:pt x="1177" y="1172"/>
                </a:lnTo>
                <a:lnTo>
                  <a:pt x="1176" y="1180"/>
                </a:lnTo>
                <a:lnTo>
                  <a:pt x="1174" y="1189"/>
                </a:lnTo>
                <a:lnTo>
                  <a:pt x="1174" y="1199"/>
                </a:lnTo>
                <a:lnTo>
                  <a:pt x="1172" y="1208"/>
                </a:lnTo>
                <a:close/>
                <a:moveTo>
                  <a:pt x="2587" y="1105"/>
                </a:moveTo>
                <a:lnTo>
                  <a:pt x="2585" y="1105"/>
                </a:lnTo>
                <a:lnTo>
                  <a:pt x="2583" y="1106"/>
                </a:lnTo>
                <a:lnTo>
                  <a:pt x="2578" y="1106"/>
                </a:lnTo>
                <a:lnTo>
                  <a:pt x="2566" y="1111"/>
                </a:lnTo>
                <a:lnTo>
                  <a:pt x="2562" y="1113"/>
                </a:lnTo>
                <a:lnTo>
                  <a:pt x="2560" y="1114"/>
                </a:lnTo>
                <a:lnTo>
                  <a:pt x="2559" y="1116"/>
                </a:lnTo>
                <a:lnTo>
                  <a:pt x="2556" y="1117"/>
                </a:lnTo>
                <a:lnTo>
                  <a:pt x="2553" y="1121"/>
                </a:lnTo>
                <a:lnTo>
                  <a:pt x="2548" y="1125"/>
                </a:lnTo>
                <a:lnTo>
                  <a:pt x="2544" y="1129"/>
                </a:lnTo>
                <a:lnTo>
                  <a:pt x="2541" y="1134"/>
                </a:lnTo>
                <a:lnTo>
                  <a:pt x="2535" y="1145"/>
                </a:lnTo>
                <a:lnTo>
                  <a:pt x="2530" y="1156"/>
                </a:lnTo>
                <a:lnTo>
                  <a:pt x="2530" y="1160"/>
                </a:lnTo>
                <a:lnTo>
                  <a:pt x="2529" y="1161"/>
                </a:lnTo>
                <a:lnTo>
                  <a:pt x="2529" y="1162"/>
                </a:lnTo>
                <a:lnTo>
                  <a:pt x="2527" y="1164"/>
                </a:lnTo>
                <a:lnTo>
                  <a:pt x="2527" y="1166"/>
                </a:lnTo>
                <a:lnTo>
                  <a:pt x="2526" y="1171"/>
                </a:lnTo>
                <a:lnTo>
                  <a:pt x="2525" y="1173"/>
                </a:lnTo>
                <a:lnTo>
                  <a:pt x="2525" y="1175"/>
                </a:lnTo>
                <a:lnTo>
                  <a:pt x="2524" y="1178"/>
                </a:lnTo>
                <a:lnTo>
                  <a:pt x="2524" y="1180"/>
                </a:lnTo>
                <a:lnTo>
                  <a:pt x="2523" y="1184"/>
                </a:lnTo>
                <a:lnTo>
                  <a:pt x="2523" y="1188"/>
                </a:lnTo>
                <a:lnTo>
                  <a:pt x="2521" y="1190"/>
                </a:lnTo>
                <a:lnTo>
                  <a:pt x="2521" y="1195"/>
                </a:lnTo>
                <a:lnTo>
                  <a:pt x="2520" y="1211"/>
                </a:lnTo>
                <a:lnTo>
                  <a:pt x="2520" y="1217"/>
                </a:lnTo>
                <a:lnTo>
                  <a:pt x="2519" y="1236"/>
                </a:lnTo>
                <a:lnTo>
                  <a:pt x="2520" y="1245"/>
                </a:lnTo>
                <a:lnTo>
                  <a:pt x="2520" y="1250"/>
                </a:lnTo>
                <a:lnTo>
                  <a:pt x="2525" y="1273"/>
                </a:lnTo>
                <a:lnTo>
                  <a:pt x="2526" y="1278"/>
                </a:lnTo>
                <a:lnTo>
                  <a:pt x="2526" y="1279"/>
                </a:lnTo>
                <a:lnTo>
                  <a:pt x="2527" y="1280"/>
                </a:lnTo>
                <a:lnTo>
                  <a:pt x="2527" y="1283"/>
                </a:lnTo>
                <a:lnTo>
                  <a:pt x="2529" y="1285"/>
                </a:lnTo>
                <a:lnTo>
                  <a:pt x="2530" y="1289"/>
                </a:lnTo>
                <a:lnTo>
                  <a:pt x="2531" y="1291"/>
                </a:lnTo>
                <a:lnTo>
                  <a:pt x="2533" y="1295"/>
                </a:lnTo>
                <a:lnTo>
                  <a:pt x="2535" y="1300"/>
                </a:lnTo>
                <a:lnTo>
                  <a:pt x="2537" y="1304"/>
                </a:lnTo>
                <a:lnTo>
                  <a:pt x="2538" y="1306"/>
                </a:lnTo>
                <a:lnTo>
                  <a:pt x="2539" y="1307"/>
                </a:lnTo>
                <a:lnTo>
                  <a:pt x="2541" y="1308"/>
                </a:lnTo>
                <a:lnTo>
                  <a:pt x="2543" y="1311"/>
                </a:lnTo>
                <a:lnTo>
                  <a:pt x="2546" y="1313"/>
                </a:lnTo>
                <a:lnTo>
                  <a:pt x="2549" y="1317"/>
                </a:lnTo>
                <a:lnTo>
                  <a:pt x="2553" y="1322"/>
                </a:lnTo>
                <a:lnTo>
                  <a:pt x="2561" y="1327"/>
                </a:lnTo>
                <a:lnTo>
                  <a:pt x="2565" y="1329"/>
                </a:lnTo>
                <a:lnTo>
                  <a:pt x="2570" y="1332"/>
                </a:lnTo>
                <a:lnTo>
                  <a:pt x="2578" y="1334"/>
                </a:lnTo>
                <a:lnTo>
                  <a:pt x="2581" y="1334"/>
                </a:lnTo>
                <a:lnTo>
                  <a:pt x="2588" y="1335"/>
                </a:lnTo>
                <a:lnTo>
                  <a:pt x="2591" y="1335"/>
                </a:lnTo>
                <a:lnTo>
                  <a:pt x="2601" y="1334"/>
                </a:lnTo>
                <a:lnTo>
                  <a:pt x="2604" y="1334"/>
                </a:lnTo>
                <a:lnTo>
                  <a:pt x="2605" y="1333"/>
                </a:lnTo>
                <a:lnTo>
                  <a:pt x="2607" y="1333"/>
                </a:lnTo>
                <a:lnTo>
                  <a:pt x="2608" y="1332"/>
                </a:lnTo>
                <a:lnTo>
                  <a:pt x="2614" y="1329"/>
                </a:lnTo>
                <a:lnTo>
                  <a:pt x="2618" y="1327"/>
                </a:lnTo>
                <a:lnTo>
                  <a:pt x="2619" y="1326"/>
                </a:lnTo>
                <a:lnTo>
                  <a:pt x="2622" y="1324"/>
                </a:lnTo>
                <a:lnTo>
                  <a:pt x="2623" y="1323"/>
                </a:lnTo>
                <a:lnTo>
                  <a:pt x="2625" y="1321"/>
                </a:lnTo>
                <a:lnTo>
                  <a:pt x="2630" y="1316"/>
                </a:lnTo>
                <a:lnTo>
                  <a:pt x="2633" y="1315"/>
                </a:lnTo>
                <a:lnTo>
                  <a:pt x="2635" y="1311"/>
                </a:lnTo>
                <a:lnTo>
                  <a:pt x="2636" y="1310"/>
                </a:lnTo>
                <a:lnTo>
                  <a:pt x="2636" y="1307"/>
                </a:lnTo>
                <a:lnTo>
                  <a:pt x="2637" y="1306"/>
                </a:lnTo>
                <a:lnTo>
                  <a:pt x="2640" y="1304"/>
                </a:lnTo>
                <a:lnTo>
                  <a:pt x="2641" y="1301"/>
                </a:lnTo>
                <a:lnTo>
                  <a:pt x="2642" y="1300"/>
                </a:lnTo>
                <a:lnTo>
                  <a:pt x="2643" y="1298"/>
                </a:lnTo>
                <a:lnTo>
                  <a:pt x="2645" y="1295"/>
                </a:lnTo>
                <a:lnTo>
                  <a:pt x="2646" y="1293"/>
                </a:lnTo>
                <a:lnTo>
                  <a:pt x="2647" y="1289"/>
                </a:lnTo>
                <a:lnTo>
                  <a:pt x="2648" y="1288"/>
                </a:lnTo>
                <a:lnTo>
                  <a:pt x="2649" y="1283"/>
                </a:lnTo>
                <a:lnTo>
                  <a:pt x="2656" y="1262"/>
                </a:lnTo>
                <a:lnTo>
                  <a:pt x="2657" y="1250"/>
                </a:lnTo>
                <a:lnTo>
                  <a:pt x="2658" y="1246"/>
                </a:lnTo>
                <a:lnTo>
                  <a:pt x="2658" y="1239"/>
                </a:lnTo>
                <a:lnTo>
                  <a:pt x="2659" y="1228"/>
                </a:lnTo>
                <a:lnTo>
                  <a:pt x="2659" y="1225"/>
                </a:lnTo>
                <a:lnTo>
                  <a:pt x="2659" y="1221"/>
                </a:lnTo>
                <a:lnTo>
                  <a:pt x="2659" y="1213"/>
                </a:lnTo>
                <a:lnTo>
                  <a:pt x="2659" y="1207"/>
                </a:lnTo>
                <a:lnTo>
                  <a:pt x="2659" y="1202"/>
                </a:lnTo>
                <a:lnTo>
                  <a:pt x="2658" y="1196"/>
                </a:lnTo>
                <a:lnTo>
                  <a:pt x="2657" y="1188"/>
                </a:lnTo>
                <a:lnTo>
                  <a:pt x="2653" y="1168"/>
                </a:lnTo>
                <a:lnTo>
                  <a:pt x="2652" y="1163"/>
                </a:lnTo>
                <a:lnTo>
                  <a:pt x="2651" y="1162"/>
                </a:lnTo>
                <a:lnTo>
                  <a:pt x="2651" y="1161"/>
                </a:lnTo>
                <a:lnTo>
                  <a:pt x="2651" y="1158"/>
                </a:lnTo>
                <a:lnTo>
                  <a:pt x="2649" y="1157"/>
                </a:lnTo>
                <a:lnTo>
                  <a:pt x="2648" y="1152"/>
                </a:lnTo>
                <a:lnTo>
                  <a:pt x="2647" y="1150"/>
                </a:lnTo>
                <a:lnTo>
                  <a:pt x="2646" y="1147"/>
                </a:lnTo>
                <a:lnTo>
                  <a:pt x="2645" y="1145"/>
                </a:lnTo>
                <a:lnTo>
                  <a:pt x="2643" y="1143"/>
                </a:lnTo>
                <a:lnTo>
                  <a:pt x="2641" y="1139"/>
                </a:lnTo>
                <a:lnTo>
                  <a:pt x="2640" y="1135"/>
                </a:lnTo>
                <a:lnTo>
                  <a:pt x="2639" y="1134"/>
                </a:lnTo>
                <a:lnTo>
                  <a:pt x="2637" y="1132"/>
                </a:lnTo>
                <a:lnTo>
                  <a:pt x="2636" y="1130"/>
                </a:lnTo>
                <a:lnTo>
                  <a:pt x="2635" y="1129"/>
                </a:lnTo>
                <a:lnTo>
                  <a:pt x="2630" y="1124"/>
                </a:lnTo>
                <a:lnTo>
                  <a:pt x="2627" y="1119"/>
                </a:lnTo>
                <a:lnTo>
                  <a:pt x="2622" y="1116"/>
                </a:lnTo>
                <a:lnTo>
                  <a:pt x="2616" y="1112"/>
                </a:lnTo>
                <a:lnTo>
                  <a:pt x="2610" y="1108"/>
                </a:lnTo>
                <a:lnTo>
                  <a:pt x="2604" y="1106"/>
                </a:lnTo>
                <a:lnTo>
                  <a:pt x="2595" y="1105"/>
                </a:lnTo>
                <a:lnTo>
                  <a:pt x="2591" y="1105"/>
                </a:lnTo>
                <a:lnTo>
                  <a:pt x="2587" y="1105"/>
                </a:lnTo>
                <a:close/>
                <a:moveTo>
                  <a:pt x="1495" y="1105"/>
                </a:moveTo>
                <a:lnTo>
                  <a:pt x="1490" y="1105"/>
                </a:lnTo>
                <a:lnTo>
                  <a:pt x="1479" y="1110"/>
                </a:lnTo>
                <a:lnTo>
                  <a:pt x="1477" y="1111"/>
                </a:lnTo>
                <a:lnTo>
                  <a:pt x="1476" y="1113"/>
                </a:lnTo>
                <a:lnTo>
                  <a:pt x="1473" y="1116"/>
                </a:lnTo>
                <a:lnTo>
                  <a:pt x="1470" y="1118"/>
                </a:lnTo>
                <a:lnTo>
                  <a:pt x="1469" y="1119"/>
                </a:lnTo>
                <a:lnTo>
                  <a:pt x="1466" y="1122"/>
                </a:lnTo>
                <a:lnTo>
                  <a:pt x="1464" y="1124"/>
                </a:lnTo>
                <a:lnTo>
                  <a:pt x="1463" y="1125"/>
                </a:lnTo>
                <a:lnTo>
                  <a:pt x="1461" y="1129"/>
                </a:lnTo>
                <a:lnTo>
                  <a:pt x="1460" y="1134"/>
                </a:lnTo>
                <a:lnTo>
                  <a:pt x="1459" y="1135"/>
                </a:lnTo>
                <a:lnTo>
                  <a:pt x="1456" y="1143"/>
                </a:lnTo>
                <a:lnTo>
                  <a:pt x="1455" y="1147"/>
                </a:lnTo>
                <a:lnTo>
                  <a:pt x="1455" y="1152"/>
                </a:lnTo>
                <a:lnTo>
                  <a:pt x="1454" y="1163"/>
                </a:lnTo>
                <a:lnTo>
                  <a:pt x="1454" y="1169"/>
                </a:lnTo>
                <a:lnTo>
                  <a:pt x="1454" y="1173"/>
                </a:lnTo>
                <a:lnTo>
                  <a:pt x="1454" y="1175"/>
                </a:lnTo>
                <a:lnTo>
                  <a:pt x="1454" y="1180"/>
                </a:lnTo>
                <a:lnTo>
                  <a:pt x="1455" y="1185"/>
                </a:lnTo>
                <a:lnTo>
                  <a:pt x="1455" y="1188"/>
                </a:lnTo>
                <a:lnTo>
                  <a:pt x="1456" y="1191"/>
                </a:lnTo>
                <a:lnTo>
                  <a:pt x="1458" y="1196"/>
                </a:lnTo>
                <a:lnTo>
                  <a:pt x="1459" y="1201"/>
                </a:lnTo>
                <a:lnTo>
                  <a:pt x="1459" y="1202"/>
                </a:lnTo>
                <a:lnTo>
                  <a:pt x="1460" y="1205"/>
                </a:lnTo>
                <a:lnTo>
                  <a:pt x="1460" y="1206"/>
                </a:lnTo>
                <a:lnTo>
                  <a:pt x="1461" y="1210"/>
                </a:lnTo>
                <a:lnTo>
                  <a:pt x="1463" y="1212"/>
                </a:lnTo>
                <a:lnTo>
                  <a:pt x="1464" y="1215"/>
                </a:lnTo>
                <a:lnTo>
                  <a:pt x="1464" y="1217"/>
                </a:lnTo>
                <a:lnTo>
                  <a:pt x="1465" y="1219"/>
                </a:lnTo>
                <a:lnTo>
                  <a:pt x="1466" y="1221"/>
                </a:lnTo>
                <a:lnTo>
                  <a:pt x="1469" y="1225"/>
                </a:lnTo>
                <a:lnTo>
                  <a:pt x="1470" y="1227"/>
                </a:lnTo>
                <a:lnTo>
                  <a:pt x="1471" y="1229"/>
                </a:lnTo>
                <a:lnTo>
                  <a:pt x="1472" y="1230"/>
                </a:lnTo>
                <a:lnTo>
                  <a:pt x="1475" y="1232"/>
                </a:lnTo>
                <a:lnTo>
                  <a:pt x="1477" y="1235"/>
                </a:lnTo>
                <a:lnTo>
                  <a:pt x="1478" y="1236"/>
                </a:lnTo>
                <a:lnTo>
                  <a:pt x="1479" y="1239"/>
                </a:lnTo>
                <a:lnTo>
                  <a:pt x="1483" y="1243"/>
                </a:lnTo>
                <a:lnTo>
                  <a:pt x="1485" y="1244"/>
                </a:lnTo>
                <a:lnTo>
                  <a:pt x="1487" y="1245"/>
                </a:lnTo>
                <a:lnTo>
                  <a:pt x="1489" y="1246"/>
                </a:lnTo>
                <a:lnTo>
                  <a:pt x="1490" y="1246"/>
                </a:lnTo>
                <a:lnTo>
                  <a:pt x="1493" y="1247"/>
                </a:lnTo>
                <a:lnTo>
                  <a:pt x="1495" y="1249"/>
                </a:lnTo>
                <a:lnTo>
                  <a:pt x="1498" y="1249"/>
                </a:lnTo>
                <a:lnTo>
                  <a:pt x="1500" y="1249"/>
                </a:lnTo>
                <a:lnTo>
                  <a:pt x="1505" y="1250"/>
                </a:lnTo>
                <a:lnTo>
                  <a:pt x="1507" y="1250"/>
                </a:lnTo>
                <a:lnTo>
                  <a:pt x="1510" y="1250"/>
                </a:lnTo>
                <a:lnTo>
                  <a:pt x="1517" y="1249"/>
                </a:lnTo>
                <a:lnTo>
                  <a:pt x="1519" y="1249"/>
                </a:lnTo>
                <a:lnTo>
                  <a:pt x="1521" y="1249"/>
                </a:lnTo>
                <a:lnTo>
                  <a:pt x="1522" y="1247"/>
                </a:lnTo>
                <a:lnTo>
                  <a:pt x="1524" y="1246"/>
                </a:lnTo>
                <a:lnTo>
                  <a:pt x="1527" y="1245"/>
                </a:lnTo>
                <a:lnTo>
                  <a:pt x="1528" y="1244"/>
                </a:lnTo>
                <a:lnTo>
                  <a:pt x="1530" y="1241"/>
                </a:lnTo>
                <a:lnTo>
                  <a:pt x="1534" y="1239"/>
                </a:lnTo>
                <a:lnTo>
                  <a:pt x="1537" y="1235"/>
                </a:lnTo>
                <a:lnTo>
                  <a:pt x="1539" y="1234"/>
                </a:lnTo>
                <a:lnTo>
                  <a:pt x="1540" y="1232"/>
                </a:lnTo>
                <a:lnTo>
                  <a:pt x="1541" y="1230"/>
                </a:lnTo>
                <a:lnTo>
                  <a:pt x="1542" y="1227"/>
                </a:lnTo>
                <a:lnTo>
                  <a:pt x="1545" y="1222"/>
                </a:lnTo>
                <a:lnTo>
                  <a:pt x="1546" y="1219"/>
                </a:lnTo>
                <a:lnTo>
                  <a:pt x="1547" y="1215"/>
                </a:lnTo>
                <a:lnTo>
                  <a:pt x="1548" y="1213"/>
                </a:lnTo>
                <a:lnTo>
                  <a:pt x="1548" y="1207"/>
                </a:lnTo>
                <a:lnTo>
                  <a:pt x="1550" y="1201"/>
                </a:lnTo>
                <a:lnTo>
                  <a:pt x="1551" y="1194"/>
                </a:lnTo>
                <a:lnTo>
                  <a:pt x="1551" y="1185"/>
                </a:lnTo>
                <a:lnTo>
                  <a:pt x="1551" y="1182"/>
                </a:lnTo>
                <a:lnTo>
                  <a:pt x="1550" y="1178"/>
                </a:lnTo>
                <a:lnTo>
                  <a:pt x="1550" y="1172"/>
                </a:lnTo>
                <a:lnTo>
                  <a:pt x="1550" y="1167"/>
                </a:lnTo>
                <a:lnTo>
                  <a:pt x="1548" y="1163"/>
                </a:lnTo>
                <a:lnTo>
                  <a:pt x="1548" y="1161"/>
                </a:lnTo>
                <a:lnTo>
                  <a:pt x="1547" y="1155"/>
                </a:lnTo>
                <a:lnTo>
                  <a:pt x="1547" y="1152"/>
                </a:lnTo>
                <a:lnTo>
                  <a:pt x="1546" y="1151"/>
                </a:lnTo>
                <a:lnTo>
                  <a:pt x="1546" y="1149"/>
                </a:lnTo>
                <a:lnTo>
                  <a:pt x="1545" y="1147"/>
                </a:lnTo>
                <a:lnTo>
                  <a:pt x="1545" y="1146"/>
                </a:lnTo>
                <a:lnTo>
                  <a:pt x="1544" y="1143"/>
                </a:lnTo>
                <a:lnTo>
                  <a:pt x="1542" y="1140"/>
                </a:lnTo>
                <a:lnTo>
                  <a:pt x="1541" y="1138"/>
                </a:lnTo>
                <a:lnTo>
                  <a:pt x="1540" y="1135"/>
                </a:lnTo>
                <a:lnTo>
                  <a:pt x="1539" y="1134"/>
                </a:lnTo>
                <a:lnTo>
                  <a:pt x="1537" y="1130"/>
                </a:lnTo>
                <a:lnTo>
                  <a:pt x="1536" y="1129"/>
                </a:lnTo>
                <a:lnTo>
                  <a:pt x="1535" y="1127"/>
                </a:lnTo>
                <a:lnTo>
                  <a:pt x="1534" y="1125"/>
                </a:lnTo>
                <a:lnTo>
                  <a:pt x="1533" y="1124"/>
                </a:lnTo>
                <a:lnTo>
                  <a:pt x="1529" y="1121"/>
                </a:lnTo>
                <a:lnTo>
                  <a:pt x="1525" y="1117"/>
                </a:lnTo>
                <a:lnTo>
                  <a:pt x="1522" y="1113"/>
                </a:lnTo>
                <a:lnTo>
                  <a:pt x="1517" y="1111"/>
                </a:lnTo>
                <a:lnTo>
                  <a:pt x="1512" y="1108"/>
                </a:lnTo>
                <a:lnTo>
                  <a:pt x="1507" y="1106"/>
                </a:lnTo>
                <a:lnTo>
                  <a:pt x="1501" y="1105"/>
                </a:lnTo>
                <a:lnTo>
                  <a:pt x="1495" y="1105"/>
                </a:lnTo>
                <a:close/>
                <a:moveTo>
                  <a:pt x="1773" y="1477"/>
                </a:moveTo>
                <a:lnTo>
                  <a:pt x="1724" y="1477"/>
                </a:lnTo>
                <a:lnTo>
                  <a:pt x="1719" y="1477"/>
                </a:lnTo>
                <a:lnTo>
                  <a:pt x="1713" y="1477"/>
                </a:lnTo>
                <a:lnTo>
                  <a:pt x="1710" y="1476"/>
                </a:lnTo>
                <a:lnTo>
                  <a:pt x="1709" y="1474"/>
                </a:lnTo>
                <a:lnTo>
                  <a:pt x="1707" y="1473"/>
                </a:lnTo>
                <a:lnTo>
                  <a:pt x="1707" y="1471"/>
                </a:lnTo>
                <a:lnTo>
                  <a:pt x="1705" y="1467"/>
                </a:lnTo>
                <a:lnTo>
                  <a:pt x="1705" y="1463"/>
                </a:lnTo>
                <a:lnTo>
                  <a:pt x="1707" y="1459"/>
                </a:lnTo>
                <a:lnTo>
                  <a:pt x="1709" y="1456"/>
                </a:lnTo>
                <a:lnTo>
                  <a:pt x="1713" y="1455"/>
                </a:lnTo>
                <a:lnTo>
                  <a:pt x="1715" y="1454"/>
                </a:lnTo>
                <a:lnTo>
                  <a:pt x="1732" y="1450"/>
                </a:lnTo>
                <a:lnTo>
                  <a:pt x="1737" y="1449"/>
                </a:lnTo>
                <a:lnTo>
                  <a:pt x="1741" y="1446"/>
                </a:lnTo>
                <a:lnTo>
                  <a:pt x="1743" y="1444"/>
                </a:lnTo>
                <a:lnTo>
                  <a:pt x="1745" y="1443"/>
                </a:lnTo>
                <a:lnTo>
                  <a:pt x="1747" y="1440"/>
                </a:lnTo>
                <a:lnTo>
                  <a:pt x="1748" y="1439"/>
                </a:lnTo>
                <a:lnTo>
                  <a:pt x="1749" y="1437"/>
                </a:lnTo>
                <a:lnTo>
                  <a:pt x="1750" y="1433"/>
                </a:lnTo>
                <a:lnTo>
                  <a:pt x="1750" y="1431"/>
                </a:lnTo>
                <a:lnTo>
                  <a:pt x="1751" y="1429"/>
                </a:lnTo>
                <a:lnTo>
                  <a:pt x="1751" y="1427"/>
                </a:lnTo>
                <a:lnTo>
                  <a:pt x="1751" y="1426"/>
                </a:lnTo>
                <a:lnTo>
                  <a:pt x="1753" y="1424"/>
                </a:lnTo>
                <a:lnTo>
                  <a:pt x="1754" y="1421"/>
                </a:lnTo>
                <a:lnTo>
                  <a:pt x="1766" y="1388"/>
                </a:lnTo>
                <a:lnTo>
                  <a:pt x="1766" y="1384"/>
                </a:lnTo>
                <a:lnTo>
                  <a:pt x="1766" y="1383"/>
                </a:lnTo>
                <a:lnTo>
                  <a:pt x="1767" y="1380"/>
                </a:lnTo>
                <a:lnTo>
                  <a:pt x="1767" y="1379"/>
                </a:lnTo>
                <a:lnTo>
                  <a:pt x="1768" y="1378"/>
                </a:lnTo>
                <a:lnTo>
                  <a:pt x="1768" y="1376"/>
                </a:lnTo>
                <a:lnTo>
                  <a:pt x="1770" y="1374"/>
                </a:lnTo>
                <a:lnTo>
                  <a:pt x="1771" y="1370"/>
                </a:lnTo>
                <a:lnTo>
                  <a:pt x="1772" y="1367"/>
                </a:lnTo>
                <a:lnTo>
                  <a:pt x="1772" y="1366"/>
                </a:lnTo>
                <a:lnTo>
                  <a:pt x="1773" y="1365"/>
                </a:lnTo>
                <a:lnTo>
                  <a:pt x="1773" y="1362"/>
                </a:lnTo>
                <a:lnTo>
                  <a:pt x="1774" y="1361"/>
                </a:lnTo>
                <a:lnTo>
                  <a:pt x="1776" y="1357"/>
                </a:lnTo>
                <a:lnTo>
                  <a:pt x="1776" y="1355"/>
                </a:lnTo>
                <a:lnTo>
                  <a:pt x="1777" y="1354"/>
                </a:lnTo>
                <a:lnTo>
                  <a:pt x="1777" y="1351"/>
                </a:lnTo>
                <a:lnTo>
                  <a:pt x="1778" y="1350"/>
                </a:lnTo>
                <a:lnTo>
                  <a:pt x="1777" y="1344"/>
                </a:lnTo>
                <a:lnTo>
                  <a:pt x="1776" y="1343"/>
                </a:lnTo>
                <a:lnTo>
                  <a:pt x="1774" y="1339"/>
                </a:lnTo>
                <a:lnTo>
                  <a:pt x="1773" y="1335"/>
                </a:lnTo>
                <a:lnTo>
                  <a:pt x="1772" y="1332"/>
                </a:lnTo>
                <a:lnTo>
                  <a:pt x="1772" y="1330"/>
                </a:lnTo>
                <a:lnTo>
                  <a:pt x="1771" y="1328"/>
                </a:lnTo>
                <a:lnTo>
                  <a:pt x="1771" y="1327"/>
                </a:lnTo>
                <a:lnTo>
                  <a:pt x="1770" y="1324"/>
                </a:lnTo>
                <a:lnTo>
                  <a:pt x="1770" y="1323"/>
                </a:lnTo>
                <a:lnTo>
                  <a:pt x="1768" y="1319"/>
                </a:lnTo>
                <a:lnTo>
                  <a:pt x="1767" y="1318"/>
                </a:lnTo>
                <a:lnTo>
                  <a:pt x="1767" y="1316"/>
                </a:lnTo>
                <a:lnTo>
                  <a:pt x="1766" y="1315"/>
                </a:lnTo>
                <a:lnTo>
                  <a:pt x="1766" y="1312"/>
                </a:lnTo>
                <a:lnTo>
                  <a:pt x="1766" y="1311"/>
                </a:lnTo>
                <a:lnTo>
                  <a:pt x="1765" y="1308"/>
                </a:lnTo>
                <a:lnTo>
                  <a:pt x="1765" y="1307"/>
                </a:lnTo>
                <a:lnTo>
                  <a:pt x="1763" y="1305"/>
                </a:lnTo>
                <a:lnTo>
                  <a:pt x="1763" y="1304"/>
                </a:lnTo>
                <a:lnTo>
                  <a:pt x="1762" y="1301"/>
                </a:lnTo>
                <a:lnTo>
                  <a:pt x="1756" y="1285"/>
                </a:lnTo>
                <a:lnTo>
                  <a:pt x="1751" y="1268"/>
                </a:lnTo>
                <a:lnTo>
                  <a:pt x="1750" y="1263"/>
                </a:lnTo>
                <a:lnTo>
                  <a:pt x="1749" y="1261"/>
                </a:lnTo>
                <a:lnTo>
                  <a:pt x="1749" y="1260"/>
                </a:lnTo>
                <a:lnTo>
                  <a:pt x="1748" y="1257"/>
                </a:lnTo>
                <a:lnTo>
                  <a:pt x="1748" y="1256"/>
                </a:lnTo>
                <a:lnTo>
                  <a:pt x="1747" y="1254"/>
                </a:lnTo>
                <a:lnTo>
                  <a:pt x="1745" y="1250"/>
                </a:lnTo>
                <a:lnTo>
                  <a:pt x="1744" y="1247"/>
                </a:lnTo>
                <a:lnTo>
                  <a:pt x="1743" y="1244"/>
                </a:lnTo>
                <a:lnTo>
                  <a:pt x="1737" y="1225"/>
                </a:lnTo>
                <a:lnTo>
                  <a:pt x="1736" y="1221"/>
                </a:lnTo>
                <a:lnTo>
                  <a:pt x="1731" y="1207"/>
                </a:lnTo>
                <a:lnTo>
                  <a:pt x="1727" y="1194"/>
                </a:lnTo>
                <a:lnTo>
                  <a:pt x="1722" y="1180"/>
                </a:lnTo>
                <a:lnTo>
                  <a:pt x="1718" y="1168"/>
                </a:lnTo>
                <a:lnTo>
                  <a:pt x="1718" y="1166"/>
                </a:lnTo>
                <a:lnTo>
                  <a:pt x="1718" y="1164"/>
                </a:lnTo>
                <a:lnTo>
                  <a:pt x="1716" y="1162"/>
                </a:lnTo>
                <a:lnTo>
                  <a:pt x="1716" y="1161"/>
                </a:lnTo>
                <a:lnTo>
                  <a:pt x="1715" y="1160"/>
                </a:lnTo>
                <a:lnTo>
                  <a:pt x="1715" y="1157"/>
                </a:lnTo>
                <a:lnTo>
                  <a:pt x="1714" y="1153"/>
                </a:lnTo>
                <a:lnTo>
                  <a:pt x="1713" y="1152"/>
                </a:lnTo>
                <a:lnTo>
                  <a:pt x="1713" y="1150"/>
                </a:lnTo>
                <a:lnTo>
                  <a:pt x="1712" y="1149"/>
                </a:lnTo>
                <a:lnTo>
                  <a:pt x="1712" y="1146"/>
                </a:lnTo>
                <a:lnTo>
                  <a:pt x="1704" y="1125"/>
                </a:lnTo>
                <a:lnTo>
                  <a:pt x="1704" y="1124"/>
                </a:lnTo>
                <a:lnTo>
                  <a:pt x="1703" y="1122"/>
                </a:lnTo>
                <a:lnTo>
                  <a:pt x="1703" y="1121"/>
                </a:lnTo>
                <a:lnTo>
                  <a:pt x="1702" y="1118"/>
                </a:lnTo>
                <a:lnTo>
                  <a:pt x="1701" y="1116"/>
                </a:lnTo>
                <a:lnTo>
                  <a:pt x="1698" y="1113"/>
                </a:lnTo>
                <a:lnTo>
                  <a:pt x="1697" y="1111"/>
                </a:lnTo>
                <a:lnTo>
                  <a:pt x="1695" y="1110"/>
                </a:lnTo>
                <a:lnTo>
                  <a:pt x="1687" y="1107"/>
                </a:lnTo>
                <a:lnTo>
                  <a:pt x="1684" y="1106"/>
                </a:lnTo>
                <a:lnTo>
                  <a:pt x="1676" y="1103"/>
                </a:lnTo>
                <a:lnTo>
                  <a:pt x="1670" y="1101"/>
                </a:lnTo>
                <a:lnTo>
                  <a:pt x="1667" y="1099"/>
                </a:lnTo>
                <a:lnTo>
                  <a:pt x="1664" y="1097"/>
                </a:lnTo>
                <a:lnTo>
                  <a:pt x="1662" y="1095"/>
                </a:lnTo>
                <a:lnTo>
                  <a:pt x="1661" y="1092"/>
                </a:lnTo>
                <a:lnTo>
                  <a:pt x="1660" y="1089"/>
                </a:lnTo>
                <a:lnTo>
                  <a:pt x="1660" y="1084"/>
                </a:lnTo>
                <a:lnTo>
                  <a:pt x="1661" y="1083"/>
                </a:lnTo>
                <a:lnTo>
                  <a:pt x="1661" y="1081"/>
                </a:lnTo>
                <a:lnTo>
                  <a:pt x="1664" y="1079"/>
                </a:lnTo>
                <a:lnTo>
                  <a:pt x="1667" y="1078"/>
                </a:lnTo>
                <a:lnTo>
                  <a:pt x="1672" y="1077"/>
                </a:lnTo>
                <a:lnTo>
                  <a:pt x="1702" y="1075"/>
                </a:lnTo>
                <a:lnTo>
                  <a:pt x="1767" y="1075"/>
                </a:lnTo>
                <a:lnTo>
                  <a:pt x="1771" y="1077"/>
                </a:lnTo>
                <a:lnTo>
                  <a:pt x="1773" y="1078"/>
                </a:lnTo>
                <a:lnTo>
                  <a:pt x="1776" y="1078"/>
                </a:lnTo>
                <a:lnTo>
                  <a:pt x="1778" y="1081"/>
                </a:lnTo>
                <a:lnTo>
                  <a:pt x="1779" y="1083"/>
                </a:lnTo>
                <a:lnTo>
                  <a:pt x="1780" y="1090"/>
                </a:lnTo>
                <a:lnTo>
                  <a:pt x="1779" y="1091"/>
                </a:lnTo>
                <a:lnTo>
                  <a:pt x="1779" y="1092"/>
                </a:lnTo>
                <a:lnTo>
                  <a:pt x="1774" y="1097"/>
                </a:lnTo>
                <a:lnTo>
                  <a:pt x="1772" y="1097"/>
                </a:lnTo>
                <a:lnTo>
                  <a:pt x="1766" y="1101"/>
                </a:lnTo>
                <a:lnTo>
                  <a:pt x="1765" y="1102"/>
                </a:lnTo>
                <a:lnTo>
                  <a:pt x="1762" y="1102"/>
                </a:lnTo>
                <a:lnTo>
                  <a:pt x="1759" y="1103"/>
                </a:lnTo>
                <a:lnTo>
                  <a:pt x="1756" y="1105"/>
                </a:lnTo>
                <a:lnTo>
                  <a:pt x="1754" y="1106"/>
                </a:lnTo>
                <a:lnTo>
                  <a:pt x="1751" y="1107"/>
                </a:lnTo>
                <a:lnTo>
                  <a:pt x="1743" y="1111"/>
                </a:lnTo>
                <a:lnTo>
                  <a:pt x="1743" y="1113"/>
                </a:lnTo>
                <a:lnTo>
                  <a:pt x="1745" y="1119"/>
                </a:lnTo>
                <a:lnTo>
                  <a:pt x="1745" y="1121"/>
                </a:lnTo>
                <a:lnTo>
                  <a:pt x="1747" y="1123"/>
                </a:lnTo>
                <a:lnTo>
                  <a:pt x="1747" y="1125"/>
                </a:lnTo>
                <a:lnTo>
                  <a:pt x="1748" y="1128"/>
                </a:lnTo>
                <a:lnTo>
                  <a:pt x="1749" y="1132"/>
                </a:lnTo>
                <a:lnTo>
                  <a:pt x="1749" y="1133"/>
                </a:lnTo>
                <a:lnTo>
                  <a:pt x="1750" y="1134"/>
                </a:lnTo>
                <a:lnTo>
                  <a:pt x="1750" y="1136"/>
                </a:lnTo>
                <a:lnTo>
                  <a:pt x="1751" y="1138"/>
                </a:lnTo>
                <a:lnTo>
                  <a:pt x="1751" y="1140"/>
                </a:lnTo>
                <a:lnTo>
                  <a:pt x="1754" y="1147"/>
                </a:lnTo>
                <a:lnTo>
                  <a:pt x="1755" y="1151"/>
                </a:lnTo>
                <a:lnTo>
                  <a:pt x="1756" y="1155"/>
                </a:lnTo>
                <a:lnTo>
                  <a:pt x="1767" y="1189"/>
                </a:lnTo>
                <a:lnTo>
                  <a:pt x="1772" y="1206"/>
                </a:lnTo>
                <a:lnTo>
                  <a:pt x="1778" y="1222"/>
                </a:lnTo>
                <a:lnTo>
                  <a:pt x="1779" y="1227"/>
                </a:lnTo>
                <a:lnTo>
                  <a:pt x="1782" y="1234"/>
                </a:lnTo>
                <a:lnTo>
                  <a:pt x="1784" y="1243"/>
                </a:lnTo>
                <a:lnTo>
                  <a:pt x="1786" y="1251"/>
                </a:lnTo>
                <a:lnTo>
                  <a:pt x="1790" y="1260"/>
                </a:lnTo>
                <a:lnTo>
                  <a:pt x="1791" y="1265"/>
                </a:lnTo>
                <a:lnTo>
                  <a:pt x="1791" y="1267"/>
                </a:lnTo>
                <a:lnTo>
                  <a:pt x="1793" y="1268"/>
                </a:lnTo>
                <a:lnTo>
                  <a:pt x="1793" y="1271"/>
                </a:lnTo>
                <a:lnTo>
                  <a:pt x="1794" y="1272"/>
                </a:lnTo>
                <a:lnTo>
                  <a:pt x="1794" y="1274"/>
                </a:lnTo>
                <a:lnTo>
                  <a:pt x="1795" y="1278"/>
                </a:lnTo>
                <a:lnTo>
                  <a:pt x="1796" y="1285"/>
                </a:lnTo>
                <a:lnTo>
                  <a:pt x="1797" y="1288"/>
                </a:lnTo>
                <a:lnTo>
                  <a:pt x="1799" y="1296"/>
                </a:lnTo>
                <a:lnTo>
                  <a:pt x="1801" y="1289"/>
                </a:lnTo>
                <a:lnTo>
                  <a:pt x="1802" y="1283"/>
                </a:lnTo>
                <a:lnTo>
                  <a:pt x="1803" y="1278"/>
                </a:lnTo>
                <a:lnTo>
                  <a:pt x="1803" y="1277"/>
                </a:lnTo>
                <a:lnTo>
                  <a:pt x="1805" y="1274"/>
                </a:lnTo>
                <a:lnTo>
                  <a:pt x="1805" y="1273"/>
                </a:lnTo>
                <a:lnTo>
                  <a:pt x="1806" y="1271"/>
                </a:lnTo>
                <a:lnTo>
                  <a:pt x="1806" y="1269"/>
                </a:lnTo>
                <a:lnTo>
                  <a:pt x="1807" y="1267"/>
                </a:lnTo>
                <a:lnTo>
                  <a:pt x="1807" y="1265"/>
                </a:lnTo>
                <a:lnTo>
                  <a:pt x="1808" y="1263"/>
                </a:lnTo>
                <a:lnTo>
                  <a:pt x="1808" y="1262"/>
                </a:lnTo>
                <a:lnTo>
                  <a:pt x="1809" y="1260"/>
                </a:lnTo>
                <a:lnTo>
                  <a:pt x="1809" y="1258"/>
                </a:lnTo>
                <a:lnTo>
                  <a:pt x="1809" y="1256"/>
                </a:lnTo>
                <a:lnTo>
                  <a:pt x="1811" y="1254"/>
                </a:lnTo>
                <a:lnTo>
                  <a:pt x="1811" y="1252"/>
                </a:lnTo>
                <a:lnTo>
                  <a:pt x="1812" y="1250"/>
                </a:lnTo>
                <a:lnTo>
                  <a:pt x="1812" y="1249"/>
                </a:lnTo>
                <a:lnTo>
                  <a:pt x="1813" y="1246"/>
                </a:lnTo>
                <a:lnTo>
                  <a:pt x="1813" y="1245"/>
                </a:lnTo>
                <a:lnTo>
                  <a:pt x="1814" y="1243"/>
                </a:lnTo>
                <a:lnTo>
                  <a:pt x="1814" y="1241"/>
                </a:lnTo>
                <a:lnTo>
                  <a:pt x="1815" y="1239"/>
                </a:lnTo>
                <a:lnTo>
                  <a:pt x="1815" y="1238"/>
                </a:lnTo>
                <a:lnTo>
                  <a:pt x="1817" y="1235"/>
                </a:lnTo>
                <a:lnTo>
                  <a:pt x="1822" y="1221"/>
                </a:lnTo>
                <a:lnTo>
                  <a:pt x="1826" y="1205"/>
                </a:lnTo>
                <a:lnTo>
                  <a:pt x="1831" y="1189"/>
                </a:lnTo>
                <a:lnTo>
                  <a:pt x="1836" y="1174"/>
                </a:lnTo>
                <a:lnTo>
                  <a:pt x="1836" y="1172"/>
                </a:lnTo>
                <a:lnTo>
                  <a:pt x="1837" y="1171"/>
                </a:lnTo>
                <a:lnTo>
                  <a:pt x="1837" y="1168"/>
                </a:lnTo>
                <a:lnTo>
                  <a:pt x="1838" y="1167"/>
                </a:lnTo>
                <a:lnTo>
                  <a:pt x="1838" y="1164"/>
                </a:lnTo>
                <a:lnTo>
                  <a:pt x="1838" y="1163"/>
                </a:lnTo>
                <a:lnTo>
                  <a:pt x="1840" y="1161"/>
                </a:lnTo>
                <a:lnTo>
                  <a:pt x="1840" y="1160"/>
                </a:lnTo>
                <a:lnTo>
                  <a:pt x="1841" y="1157"/>
                </a:lnTo>
                <a:lnTo>
                  <a:pt x="1841" y="1156"/>
                </a:lnTo>
                <a:lnTo>
                  <a:pt x="1842" y="1153"/>
                </a:lnTo>
                <a:lnTo>
                  <a:pt x="1842" y="1151"/>
                </a:lnTo>
                <a:lnTo>
                  <a:pt x="1843" y="1150"/>
                </a:lnTo>
                <a:lnTo>
                  <a:pt x="1843" y="1147"/>
                </a:lnTo>
                <a:lnTo>
                  <a:pt x="1844" y="1146"/>
                </a:lnTo>
                <a:lnTo>
                  <a:pt x="1844" y="1145"/>
                </a:lnTo>
                <a:lnTo>
                  <a:pt x="1846" y="1143"/>
                </a:lnTo>
                <a:lnTo>
                  <a:pt x="1848" y="1135"/>
                </a:lnTo>
                <a:lnTo>
                  <a:pt x="1848" y="1133"/>
                </a:lnTo>
                <a:lnTo>
                  <a:pt x="1849" y="1132"/>
                </a:lnTo>
                <a:lnTo>
                  <a:pt x="1849" y="1130"/>
                </a:lnTo>
                <a:lnTo>
                  <a:pt x="1851" y="1125"/>
                </a:lnTo>
                <a:lnTo>
                  <a:pt x="1852" y="1121"/>
                </a:lnTo>
                <a:lnTo>
                  <a:pt x="1853" y="1117"/>
                </a:lnTo>
                <a:lnTo>
                  <a:pt x="1853" y="1113"/>
                </a:lnTo>
                <a:lnTo>
                  <a:pt x="1851" y="1111"/>
                </a:lnTo>
                <a:lnTo>
                  <a:pt x="1844" y="1110"/>
                </a:lnTo>
                <a:lnTo>
                  <a:pt x="1838" y="1107"/>
                </a:lnTo>
                <a:lnTo>
                  <a:pt x="1834" y="1106"/>
                </a:lnTo>
                <a:lnTo>
                  <a:pt x="1832" y="1105"/>
                </a:lnTo>
                <a:lnTo>
                  <a:pt x="1829" y="1103"/>
                </a:lnTo>
                <a:lnTo>
                  <a:pt x="1825" y="1102"/>
                </a:lnTo>
                <a:lnTo>
                  <a:pt x="1824" y="1102"/>
                </a:lnTo>
                <a:lnTo>
                  <a:pt x="1822" y="1101"/>
                </a:lnTo>
                <a:lnTo>
                  <a:pt x="1818" y="1100"/>
                </a:lnTo>
                <a:lnTo>
                  <a:pt x="1815" y="1096"/>
                </a:lnTo>
                <a:lnTo>
                  <a:pt x="1814" y="1095"/>
                </a:lnTo>
                <a:lnTo>
                  <a:pt x="1813" y="1091"/>
                </a:lnTo>
                <a:lnTo>
                  <a:pt x="1812" y="1090"/>
                </a:lnTo>
                <a:lnTo>
                  <a:pt x="1812" y="1089"/>
                </a:lnTo>
                <a:lnTo>
                  <a:pt x="1813" y="1086"/>
                </a:lnTo>
                <a:lnTo>
                  <a:pt x="1814" y="1081"/>
                </a:lnTo>
                <a:lnTo>
                  <a:pt x="1817" y="1080"/>
                </a:lnTo>
                <a:lnTo>
                  <a:pt x="1818" y="1078"/>
                </a:lnTo>
                <a:lnTo>
                  <a:pt x="1820" y="1078"/>
                </a:lnTo>
                <a:lnTo>
                  <a:pt x="1823" y="1077"/>
                </a:lnTo>
                <a:lnTo>
                  <a:pt x="1825" y="1077"/>
                </a:lnTo>
                <a:lnTo>
                  <a:pt x="1831" y="1075"/>
                </a:lnTo>
                <a:lnTo>
                  <a:pt x="1836" y="1075"/>
                </a:lnTo>
                <a:lnTo>
                  <a:pt x="1848" y="1075"/>
                </a:lnTo>
                <a:lnTo>
                  <a:pt x="1902" y="1075"/>
                </a:lnTo>
                <a:lnTo>
                  <a:pt x="1911" y="1075"/>
                </a:lnTo>
                <a:lnTo>
                  <a:pt x="1921" y="1075"/>
                </a:lnTo>
                <a:lnTo>
                  <a:pt x="1924" y="1077"/>
                </a:lnTo>
                <a:lnTo>
                  <a:pt x="1928" y="1078"/>
                </a:lnTo>
                <a:lnTo>
                  <a:pt x="1929" y="1078"/>
                </a:lnTo>
                <a:lnTo>
                  <a:pt x="1930" y="1079"/>
                </a:lnTo>
                <a:lnTo>
                  <a:pt x="1932" y="1081"/>
                </a:lnTo>
                <a:lnTo>
                  <a:pt x="1933" y="1083"/>
                </a:lnTo>
                <a:lnTo>
                  <a:pt x="1933" y="1085"/>
                </a:lnTo>
                <a:lnTo>
                  <a:pt x="1934" y="1088"/>
                </a:lnTo>
                <a:lnTo>
                  <a:pt x="1934" y="1090"/>
                </a:lnTo>
                <a:lnTo>
                  <a:pt x="1933" y="1095"/>
                </a:lnTo>
                <a:lnTo>
                  <a:pt x="1932" y="1096"/>
                </a:lnTo>
                <a:lnTo>
                  <a:pt x="1932" y="1097"/>
                </a:lnTo>
                <a:lnTo>
                  <a:pt x="1929" y="1099"/>
                </a:lnTo>
                <a:lnTo>
                  <a:pt x="1927" y="1100"/>
                </a:lnTo>
                <a:lnTo>
                  <a:pt x="1924" y="1102"/>
                </a:lnTo>
                <a:lnTo>
                  <a:pt x="1923" y="1102"/>
                </a:lnTo>
                <a:lnTo>
                  <a:pt x="1918" y="1103"/>
                </a:lnTo>
                <a:lnTo>
                  <a:pt x="1913" y="1106"/>
                </a:lnTo>
                <a:lnTo>
                  <a:pt x="1911" y="1107"/>
                </a:lnTo>
                <a:lnTo>
                  <a:pt x="1906" y="1108"/>
                </a:lnTo>
                <a:lnTo>
                  <a:pt x="1902" y="1110"/>
                </a:lnTo>
                <a:lnTo>
                  <a:pt x="1899" y="1112"/>
                </a:lnTo>
                <a:lnTo>
                  <a:pt x="1898" y="1113"/>
                </a:lnTo>
                <a:lnTo>
                  <a:pt x="1894" y="1117"/>
                </a:lnTo>
                <a:lnTo>
                  <a:pt x="1893" y="1119"/>
                </a:lnTo>
                <a:lnTo>
                  <a:pt x="1892" y="1122"/>
                </a:lnTo>
                <a:lnTo>
                  <a:pt x="1890" y="1123"/>
                </a:lnTo>
                <a:lnTo>
                  <a:pt x="1890" y="1125"/>
                </a:lnTo>
                <a:lnTo>
                  <a:pt x="1889" y="1127"/>
                </a:lnTo>
                <a:lnTo>
                  <a:pt x="1889" y="1129"/>
                </a:lnTo>
                <a:lnTo>
                  <a:pt x="1888" y="1130"/>
                </a:lnTo>
                <a:lnTo>
                  <a:pt x="1887" y="1134"/>
                </a:lnTo>
                <a:lnTo>
                  <a:pt x="1882" y="1151"/>
                </a:lnTo>
                <a:lnTo>
                  <a:pt x="1876" y="1167"/>
                </a:lnTo>
                <a:lnTo>
                  <a:pt x="1872" y="1179"/>
                </a:lnTo>
                <a:lnTo>
                  <a:pt x="1869" y="1189"/>
                </a:lnTo>
                <a:lnTo>
                  <a:pt x="1865" y="1200"/>
                </a:lnTo>
                <a:lnTo>
                  <a:pt x="1861" y="1210"/>
                </a:lnTo>
                <a:lnTo>
                  <a:pt x="1858" y="1219"/>
                </a:lnTo>
                <a:lnTo>
                  <a:pt x="1858" y="1221"/>
                </a:lnTo>
                <a:lnTo>
                  <a:pt x="1858" y="1223"/>
                </a:lnTo>
                <a:lnTo>
                  <a:pt x="1857" y="1224"/>
                </a:lnTo>
                <a:lnTo>
                  <a:pt x="1857" y="1227"/>
                </a:lnTo>
                <a:lnTo>
                  <a:pt x="1855" y="1228"/>
                </a:lnTo>
                <a:lnTo>
                  <a:pt x="1855" y="1230"/>
                </a:lnTo>
                <a:lnTo>
                  <a:pt x="1854" y="1232"/>
                </a:lnTo>
                <a:lnTo>
                  <a:pt x="1854" y="1234"/>
                </a:lnTo>
                <a:lnTo>
                  <a:pt x="1853" y="1235"/>
                </a:lnTo>
                <a:lnTo>
                  <a:pt x="1853" y="1236"/>
                </a:lnTo>
                <a:lnTo>
                  <a:pt x="1852" y="1240"/>
                </a:lnTo>
                <a:lnTo>
                  <a:pt x="1851" y="1244"/>
                </a:lnTo>
                <a:lnTo>
                  <a:pt x="1849" y="1249"/>
                </a:lnTo>
                <a:lnTo>
                  <a:pt x="1847" y="1256"/>
                </a:lnTo>
                <a:lnTo>
                  <a:pt x="1846" y="1257"/>
                </a:lnTo>
                <a:lnTo>
                  <a:pt x="1846" y="1260"/>
                </a:lnTo>
                <a:lnTo>
                  <a:pt x="1844" y="1261"/>
                </a:lnTo>
                <a:lnTo>
                  <a:pt x="1844" y="1263"/>
                </a:lnTo>
                <a:lnTo>
                  <a:pt x="1843" y="1265"/>
                </a:lnTo>
                <a:lnTo>
                  <a:pt x="1843" y="1266"/>
                </a:lnTo>
                <a:lnTo>
                  <a:pt x="1842" y="1269"/>
                </a:lnTo>
                <a:lnTo>
                  <a:pt x="1840" y="1276"/>
                </a:lnTo>
                <a:lnTo>
                  <a:pt x="1831" y="1300"/>
                </a:lnTo>
                <a:lnTo>
                  <a:pt x="1824" y="1323"/>
                </a:lnTo>
                <a:lnTo>
                  <a:pt x="1823" y="1327"/>
                </a:lnTo>
                <a:lnTo>
                  <a:pt x="1823" y="1329"/>
                </a:lnTo>
                <a:lnTo>
                  <a:pt x="1822" y="1330"/>
                </a:lnTo>
                <a:lnTo>
                  <a:pt x="1822" y="1333"/>
                </a:lnTo>
                <a:lnTo>
                  <a:pt x="1820" y="1334"/>
                </a:lnTo>
                <a:lnTo>
                  <a:pt x="1820" y="1337"/>
                </a:lnTo>
                <a:lnTo>
                  <a:pt x="1819" y="1338"/>
                </a:lnTo>
                <a:lnTo>
                  <a:pt x="1818" y="1343"/>
                </a:lnTo>
                <a:lnTo>
                  <a:pt x="1809" y="1365"/>
                </a:lnTo>
                <a:lnTo>
                  <a:pt x="1809" y="1370"/>
                </a:lnTo>
                <a:lnTo>
                  <a:pt x="1801" y="1391"/>
                </a:lnTo>
                <a:lnTo>
                  <a:pt x="1794" y="1412"/>
                </a:lnTo>
                <a:lnTo>
                  <a:pt x="1790" y="1424"/>
                </a:lnTo>
                <a:lnTo>
                  <a:pt x="1789" y="1428"/>
                </a:lnTo>
                <a:lnTo>
                  <a:pt x="1789" y="1431"/>
                </a:lnTo>
                <a:lnTo>
                  <a:pt x="1788" y="1432"/>
                </a:lnTo>
                <a:lnTo>
                  <a:pt x="1788" y="1434"/>
                </a:lnTo>
                <a:lnTo>
                  <a:pt x="1786" y="1435"/>
                </a:lnTo>
                <a:lnTo>
                  <a:pt x="1786" y="1438"/>
                </a:lnTo>
                <a:lnTo>
                  <a:pt x="1785" y="1439"/>
                </a:lnTo>
                <a:lnTo>
                  <a:pt x="1785" y="1440"/>
                </a:lnTo>
                <a:lnTo>
                  <a:pt x="1784" y="1443"/>
                </a:lnTo>
                <a:lnTo>
                  <a:pt x="1784" y="1444"/>
                </a:lnTo>
                <a:lnTo>
                  <a:pt x="1783" y="1446"/>
                </a:lnTo>
                <a:lnTo>
                  <a:pt x="1783" y="1448"/>
                </a:lnTo>
                <a:lnTo>
                  <a:pt x="1782" y="1450"/>
                </a:lnTo>
                <a:lnTo>
                  <a:pt x="1780" y="1454"/>
                </a:lnTo>
                <a:lnTo>
                  <a:pt x="1780" y="1456"/>
                </a:lnTo>
                <a:lnTo>
                  <a:pt x="1779" y="1460"/>
                </a:lnTo>
                <a:lnTo>
                  <a:pt x="1778" y="1461"/>
                </a:lnTo>
                <a:lnTo>
                  <a:pt x="1778" y="1463"/>
                </a:lnTo>
                <a:lnTo>
                  <a:pt x="1777" y="1465"/>
                </a:lnTo>
                <a:lnTo>
                  <a:pt x="1773" y="1477"/>
                </a:lnTo>
                <a:close/>
                <a:moveTo>
                  <a:pt x="4754" y="1354"/>
                </a:moveTo>
                <a:lnTo>
                  <a:pt x="4754" y="1350"/>
                </a:lnTo>
                <a:lnTo>
                  <a:pt x="4753" y="1344"/>
                </a:lnTo>
                <a:lnTo>
                  <a:pt x="4751" y="1335"/>
                </a:lnTo>
                <a:lnTo>
                  <a:pt x="4751" y="1328"/>
                </a:lnTo>
                <a:lnTo>
                  <a:pt x="4751" y="1322"/>
                </a:lnTo>
                <a:lnTo>
                  <a:pt x="4750" y="1316"/>
                </a:lnTo>
                <a:lnTo>
                  <a:pt x="4749" y="1304"/>
                </a:lnTo>
                <a:lnTo>
                  <a:pt x="4749" y="1299"/>
                </a:lnTo>
                <a:lnTo>
                  <a:pt x="4748" y="1293"/>
                </a:lnTo>
                <a:lnTo>
                  <a:pt x="4748" y="1290"/>
                </a:lnTo>
                <a:lnTo>
                  <a:pt x="4748" y="1287"/>
                </a:lnTo>
                <a:lnTo>
                  <a:pt x="4749" y="1282"/>
                </a:lnTo>
                <a:lnTo>
                  <a:pt x="4750" y="1277"/>
                </a:lnTo>
                <a:lnTo>
                  <a:pt x="4754" y="1273"/>
                </a:lnTo>
                <a:lnTo>
                  <a:pt x="4760" y="1272"/>
                </a:lnTo>
                <a:lnTo>
                  <a:pt x="4764" y="1271"/>
                </a:lnTo>
                <a:lnTo>
                  <a:pt x="4767" y="1271"/>
                </a:lnTo>
                <a:lnTo>
                  <a:pt x="4770" y="1272"/>
                </a:lnTo>
                <a:lnTo>
                  <a:pt x="4772" y="1273"/>
                </a:lnTo>
                <a:lnTo>
                  <a:pt x="4774" y="1276"/>
                </a:lnTo>
                <a:lnTo>
                  <a:pt x="4777" y="1278"/>
                </a:lnTo>
                <a:lnTo>
                  <a:pt x="4778" y="1280"/>
                </a:lnTo>
                <a:lnTo>
                  <a:pt x="4779" y="1284"/>
                </a:lnTo>
                <a:lnTo>
                  <a:pt x="4780" y="1287"/>
                </a:lnTo>
                <a:lnTo>
                  <a:pt x="4782" y="1289"/>
                </a:lnTo>
                <a:lnTo>
                  <a:pt x="4782" y="1290"/>
                </a:lnTo>
                <a:lnTo>
                  <a:pt x="4783" y="1294"/>
                </a:lnTo>
                <a:lnTo>
                  <a:pt x="4784" y="1296"/>
                </a:lnTo>
                <a:lnTo>
                  <a:pt x="4785" y="1301"/>
                </a:lnTo>
                <a:lnTo>
                  <a:pt x="4786" y="1304"/>
                </a:lnTo>
                <a:lnTo>
                  <a:pt x="4788" y="1307"/>
                </a:lnTo>
                <a:lnTo>
                  <a:pt x="4789" y="1310"/>
                </a:lnTo>
                <a:lnTo>
                  <a:pt x="4790" y="1312"/>
                </a:lnTo>
                <a:lnTo>
                  <a:pt x="4791" y="1316"/>
                </a:lnTo>
                <a:lnTo>
                  <a:pt x="4793" y="1318"/>
                </a:lnTo>
                <a:lnTo>
                  <a:pt x="4794" y="1322"/>
                </a:lnTo>
                <a:lnTo>
                  <a:pt x="4795" y="1324"/>
                </a:lnTo>
                <a:lnTo>
                  <a:pt x="4797" y="1328"/>
                </a:lnTo>
                <a:lnTo>
                  <a:pt x="4800" y="1332"/>
                </a:lnTo>
                <a:lnTo>
                  <a:pt x="4801" y="1333"/>
                </a:lnTo>
                <a:lnTo>
                  <a:pt x="4803" y="1334"/>
                </a:lnTo>
                <a:lnTo>
                  <a:pt x="4806" y="1334"/>
                </a:lnTo>
                <a:lnTo>
                  <a:pt x="4809" y="1337"/>
                </a:lnTo>
                <a:lnTo>
                  <a:pt x="4814" y="1338"/>
                </a:lnTo>
                <a:lnTo>
                  <a:pt x="4817" y="1338"/>
                </a:lnTo>
                <a:lnTo>
                  <a:pt x="4820" y="1339"/>
                </a:lnTo>
                <a:lnTo>
                  <a:pt x="4825" y="1339"/>
                </a:lnTo>
                <a:lnTo>
                  <a:pt x="4829" y="1339"/>
                </a:lnTo>
                <a:lnTo>
                  <a:pt x="4834" y="1338"/>
                </a:lnTo>
                <a:lnTo>
                  <a:pt x="4837" y="1338"/>
                </a:lnTo>
                <a:lnTo>
                  <a:pt x="4840" y="1338"/>
                </a:lnTo>
                <a:lnTo>
                  <a:pt x="4841" y="1337"/>
                </a:lnTo>
                <a:lnTo>
                  <a:pt x="4843" y="1337"/>
                </a:lnTo>
                <a:lnTo>
                  <a:pt x="4847" y="1335"/>
                </a:lnTo>
                <a:lnTo>
                  <a:pt x="4849" y="1334"/>
                </a:lnTo>
                <a:lnTo>
                  <a:pt x="4852" y="1333"/>
                </a:lnTo>
                <a:lnTo>
                  <a:pt x="4855" y="1332"/>
                </a:lnTo>
                <a:lnTo>
                  <a:pt x="4857" y="1330"/>
                </a:lnTo>
                <a:lnTo>
                  <a:pt x="4858" y="1329"/>
                </a:lnTo>
                <a:lnTo>
                  <a:pt x="4860" y="1326"/>
                </a:lnTo>
                <a:lnTo>
                  <a:pt x="4864" y="1323"/>
                </a:lnTo>
                <a:lnTo>
                  <a:pt x="4867" y="1321"/>
                </a:lnTo>
                <a:lnTo>
                  <a:pt x="4869" y="1318"/>
                </a:lnTo>
                <a:lnTo>
                  <a:pt x="4869" y="1317"/>
                </a:lnTo>
                <a:lnTo>
                  <a:pt x="4870" y="1315"/>
                </a:lnTo>
                <a:lnTo>
                  <a:pt x="4871" y="1312"/>
                </a:lnTo>
                <a:lnTo>
                  <a:pt x="4872" y="1310"/>
                </a:lnTo>
                <a:lnTo>
                  <a:pt x="4872" y="1308"/>
                </a:lnTo>
                <a:lnTo>
                  <a:pt x="4875" y="1304"/>
                </a:lnTo>
                <a:lnTo>
                  <a:pt x="4876" y="1298"/>
                </a:lnTo>
                <a:lnTo>
                  <a:pt x="4877" y="1291"/>
                </a:lnTo>
                <a:lnTo>
                  <a:pt x="4877" y="1288"/>
                </a:lnTo>
                <a:lnTo>
                  <a:pt x="4877" y="1284"/>
                </a:lnTo>
                <a:lnTo>
                  <a:pt x="4876" y="1280"/>
                </a:lnTo>
                <a:lnTo>
                  <a:pt x="4873" y="1272"/>
                </a:lnTo>
                <a:lnTo>
                  <a:pt x="4871" y="1268"/>
                </a:lnTo>
                <a:lnTo>
                  <a:pt x="4869" y="1265"/>
                </a:lnTo>
                <a:lnTo>
                  <a:pt x="4866" y="1262"/>
                </a:lnTo>
                <a:lnTo>
                  <a:pt x="4863" y="1258"/>
                </a:lnTo>
                <a:lnTo>
                  <a:pt x="4857" y="1254"/>
                </a:lnTo>
                <a:lnTo>
                  <a:pt x="4855" y="1251"/>
                </a:lnTo>
                <a:lnTo>
                  <a:pt x="4853" y="1250"/>
                </a:lnTo>
                <a:lnTo>
                  <a:pt x="4852" y="1249"/>
                </a:lnTo>
                <a:lnTo>
                  <a:pt x="4849" y="1247"/>
                </a:lnTo>
                <a:lnTo>
                  <a:pt x="4847" y="1246"/>
                </a:lnTo>
                <a:lnTo>
                  <a:pt x="4846" y="1245"/>
                </a:lnTo>
                <a:lnTo>
                  <a:pt x="4843" y="1244"/>
                </a:lnTo>
                <a:lnTo>
                  <a:pt x="4841" y="1243"/>
                </a:lnTo>
                <a:lnTo>
                  <a:pt x="4837" y="1240"/>
                </a:lnTo>
                <a:lnTo>
                  <a:pt x="4834" y="1238"/>
                </a:lnTo>
                <a:lnTo>
                  <a:pt x="4831" y="1236"/>
                </a:lnTo>
                <a:lnTo>
                  <a:pt x="4829" y="1235"/>
                </a:lnTo>
                <a:lnTo>
                  <a:pt x="4828" y="1234"/>
                </a:lnTo>
                <a:lnTo>
                  <a:pt x="4825" y="1234"/>
                </a:lnTo>
                <a:lnTo>
                  <a:pt x="4823" y="1233"/>
                </a:lnTo>
                <a:lnTo>
                  <a:pt x="4822" y="1230"/>
                </a:lnTo>
                <a:lnTo>
                  <a:pt x="4819" y="1230"/>
                </a:lnTo>
                <a:lnTo>
                  <a:pt x="4817" y="1229"/>
                </a:lnTo>
                <a:lnTo>
                  <a:pt x="4814" y="1227"/>
                </a:lnTo>
                <a:lnTo>
                  <a:pt x="4812" y="1225"/>
                </a:lnTo>
                <a:lnTo>
                  <a:pt x="4807" y="1223"/>
                </a:lnTo>
                <a:lnTo>
                  <a:pt x="4806" y="1222"/>
                </a:lnTo>
                <a:lnTo>
                  <a:pt x="4803" y="1221"/>
                </a:lnTo>
                <a:lnTo>
                  <a:pt x="4801" y="1219"/>
                </a:lnTo>
                <a:lnTo>
                  <a:pt x="4799" y="1218"/>
                </a:lnTo>
                <a:lnTo>
                  <a:pt x="4797" y="1217"/>
                </a:lnTo>
                <a:lnTo>
                  <a:pt x="4795" y="1216"/>
                </a:lnTo>
                <a:lnTo>
                  <a:pt x="4794" y="1215"/>
                </a:lnTo>
                <a:lnTo>
                  <a:pt x="4791" y="1212"/>
                </a:lnTo>
                <a:lnTo>
                  <a:pt x="4789" y="1211"/>
                </a:lnTo>
                <a:lnTo>
                  <a:pt x="4786" y="1210"/>
                </a:lnTo>
                <a:lnTo>
                  <a:pt x="4784" y="1207"/>
                </a:lnTo>
                <a:lnTo>
                  <a:pt x="4782" y="1205"/>
                </a:lnTo>
                <a:lnTo>
                  <a:pt x="4778" y="1202"/>
                </a:lnTo>
                <a:lnTo>
                  <a:pt x="4777" y="1202"/>
                </a:lnTo>
                <a:lnTo>
                  <a:pt x="4772" y="1197"/>
                </a:lnTo>
                <a:lnTo>
                  <a:pt x="4770" y="1195"/>
                </a:lnTo>
                <a:lnTo>
                  <a:pt x="4767" y="1191"/>
                </a:lnTo>
                <a:lnTo>
                  <a:pt x="4765" y="1189"/>
                </a:lnTo>
                <a:lnTo>
                  <a:pt x="4764" y="1186"/>
                </a:lnTo>
                <a:lnTo>
                  <a:pt x="4762" y="1185"/>
                </a:lnTo>
                <a:lnTo>
                  <a:pt x="4761" y="1183"/>
                </a:lnTo>
                <a:lnTo>
                  <a:pt x="4760" y="1179"/>
                </a:lnTo>
                <a:lnTo>
                  <a:pt x="4757" y="1175"/>
                </a:lnTo>
                <a:lnTo>
                  <a:pt x="4756" y="1173"/>
                </a:lnTo>
                <a:lnTo>
                  <a:pt x="4754" y="1167"/>
                </a:lnTo>
                <a:lnTo>
                  <a:pt x="4754" y="1164"/>
                </a:lnTo>
                <a:lnTo>
                  <a:pt x="4754" y="1162"/>
                </a:lnTo>
                <a:lnTo>
                  <a:pt x="4753" y="1158"/>
                </a:lnTo>
                <a:lnTo>
                  <a:pt x="4753" y="1155"/>
                </a:lnTo>
                <a:lnTo>
                  <a:pt x="4751" y="1151"/>
                </a:lnTo>
                <a:lnTo>
                  <a:pt x="4751" y="1146"/>
                </a:lnTo>
                <a:lnTo>
                  <a:pt x="4753" y="1138"/>
                </a:lnTo>
                <a:lnTo>
                  <a:pt x="4753" y="1133"/>
                </a:lnTo>
                <a:lnTo>
                  <a:pt x="4753" y="1130"/>
                </a:lnTo>
                <a:lnTo>
                  <a:pt x="4754" y="1128"/>
                </a:lnTo>
                <a:lnTo>
                  <a:pt x="4754" y="1125"/>
                </a:lnTo>
                <a:lnTo>
                  <a:pt x="4757" y="1116"/>
                </a:lnTo>
                <a:lnTo>
                  <a:pt x="4762" y="1107"/>
                </a:lnTo>
                <a:lnTo>
                  <a:pt x="4765" y="1103"/>
                </a:lnTo>
                <a:lnTo>
                  <a:pt x="4767" y="1100"/>
                </a:lnTo>
                <a:lnTo>
                  <a:pt x="4774" y="1094"/>
                </a:lnTo>
                <a:lnTo>
                  <a:pt x="4780" y="1089"/>
                </a:lnTo>
                <a:lnTo>
                  <a:pt x="4789" y="1084"/>
                </a:lnTo>
                <a:lnTo>
                  <a:pt x="4797" y="1080"/>
                </a:lnTo>
                <a:lnTo>
                  <a:pt x="4807" y="1077"/>
                </a:lnTo>
                <a:lnTo>
                  <a:pt x="4809" y="1077"/>
                </a:lnTo>
                <a:lnTo>
                  <a:pt x="4812" y="1075"/>
                </a:lnTo>
                <a:lnTo>
                  <a:pt x="4813" y="1075"/>
                </a:lnTo>
                <a:lnTo>
                  <a:pt x="4815" y="1074"/>
                </a:lnTo>
                <a:lnTo>
                  <a:pt x="4819" y="1074"/>
                </a:lnTo>
                <a:lnTo>
                  <a:pt x="4823" y="1073"/>
                </a:lnTo>
                <a:lnTo>
                  <a:pt x="4826" y="1073"/>
                </a:lnTo>
                <a:lnTo>
                  <a:pt x="4831" y="1073"/>
                </a:lnTo>
                <a:lnTo>
                  <a:pt x="4847" y="1072"/>
                </a:lnTo>
                <a:lnTo>
                  <a:pt x="4854" y="1072"/>
                </a:lnTo>
                <a:lnTo>
                  <a:pt x="4861" y="1073"/>
                </a:lnTo>
                <a:lnTo>
                  <a:pt x="4867" y="1074"/>
                </a:lnTo>
                <a:lnTo>
                  <a:pt x="4873" y="1075"/>
                </a:lnTo>
                <a:lnTo>
                  <a:pt x="4876" y="1075"/>
                </a:lnTo>
                <a:lnTo>
                  <a:pt x="4878" y="1077"/>
                </a:lnTo>
                <a:lnTo>
                  <a:pt x="4881" y="1077"/>
                </a:lnTo>
                <a:lnTo>
                  <a:pt x="4883" y="1078"/>
                </a:lnTo>
                <a:lnTo>
                  <a:pt x="4887" y="1079"/>
                </a:lnTo>
                <a:lnTo>
                  <a:pt x="4889" y="1079"/>
                </a:lnTo>
                <a:lnTo>
                  <a:pt x="4893" y="1080"/>
                </a:lnTo>
                <a:lnTo>
                  <a:pt x="4898" y="1083"/>
                </a:lnTo>
                <a:lnTo>
                  <a:pt x="4900" y="1084"/>
                </a:lnTo>
                <a:lnTo>
                  <a:pt x="4901" y="1085"/>
                </a:lnTo>
                <a:lnTo>
                  <a:pt x="4901" y="1092"/>
                </a:lnTo>
                <a:lnTo>
                  <a:pt x="4903" y="1094"/>
                </a:lnTo>
                <a:lnTo>
                  <a:pt x="4903" y="1096"/>
                </a:lnTo>
                <a:lnTo>
                  <a:pt x="4903" y="1100"/>
                </a:lnTo>
                <a:lnTo>
                  <a:pt x="4903" y="1107"/>
                </a:lnTo>
                <a:lnTo>
                  <a:pt x="4904" y="1116"/>
                </a:lnTo>
                <a:lnTo>
                  <a:pt x="4904" y="1122"/>
                </a:lnTo>
                <a:lnTo>
                  <a:pt x="4905" y="1128"/>
                </a:lnTo>
                <a:lnTo>
                  <a:pt x="4905" y="1133"/>
                </a:lnTo>
                <a:lnTo>
                  <a:pt x="4906" y="1141"/>
                </a:lnTo>
                <a:lnTo>
                  <a:pt x="4905" y="1144"/>
                </a:lnTo>
                <a:lnTo>
                  <a:pt x="4904" y="1146"/>
                </a:lnTo>
                <a:lnTo>
                  <a:pt x="4900" y="1149"/>
                </a:lnTo>
                <a:lnTo>
                  <a:pt x="4898" y="1150"/>
                </a:lnTo>
                <a:lnTo>
                  <a:pt x="4893" y="1152"/>
                </a:lnTo>
                <a:lnTo>
                  <a:pt x="4889" y="1152"/>
                </a:lnTo>
                <a:lnTo>
                  <a:pt x="4887" y="1152"/>
                </a:lnTo>
                <a:lnTo>
                  <a:pt x="4884" y="1151"/>
                </a:lnTo>
                <a:lnTo>
                  <a:pt x="4883" y="1150"/>
                </a:lnTo>
                <a:lnTo>
                  <a:pt x="4882" y="1149"/>
                </a:lnTo>
                <a:lnTo>
                  <a:pt x="4880" y="1146"/>
                </a:lnTo>
                <a:lnTo>
                  <a:pt x="4876" y="1144"/>
                </a:lnTo>
                <a:lnTo>
                  <a:pt x="4875" y="1143"/>
                </a:lnTo>
                <a:lnTo>
                  <a:pt x="4873" y="1139"/>
                </a:lnTo>
                <a:lnTo>
                  <a:pt x="4873" y="1136"/>
                </a:lnTo>
                <a:lnTo>
                  <a:pt x="4871" y="1132"/>
                </a:lnTo>
                <a:lnTo>
                  <a:pt x="4870" y="1129"/>
                </a:lnTo>
                <a:lnTo>
                  <a:pt x="4870" y="1127"/>
                </a:lnTo>
                <a:lnTo>
                  <a:pt x="4869" y="1123"/>
                </a:lnTo>
                <a:lnTo>
                  <a:pt x="4867" y="1121"/>
                </a:lnTo>
                <a:lnTo>
                  <a:pt x="4866" y="1117"/>
                </a:lnTo>
                <a:lnTo>
                  <a:pt x="4865" y="1114"/>
                </a:lnTo>
                <a:lnTo>
                  <a:pt x="4864" y="1112"/>
                </a:lnTo>
                <a:lnTo>
                  <a:pt x="4863" y="1110"/>
                </a:lnTo>
                <a:lnTo>
                  <a:pt x="4861" y="1108"/>
                </a:lnTo>
                <a:lnTo>
                  <a:pt x="4859" y="1107"/>
                </a:lnTo>
                <a:lnTo>
                  <a:pt x="4857" y="1105"/>
                </a:lnTo>
                <a:lnTo>
                  <a:pt x="4853" y="1102"/>
                </a:lnTo>
                <a:lnTo>
                  <a:pt x="4848" y="1101"/>
                </a:lnTo>
                <a:lnTo>
                  <a:pt x="4843" y="1101"/>
                </a:lnTo>
                <a:lnTo>
                  <a:pt x="4838" y="1101"/>
                </a:lnTo>
                <a:lnTo>
                  <a:pt x="4831" y="1101"/>
                </a:lnTo>
                <a:lnTo>
                  <a:pt x="4828" y="1101"/>
                </a:lnTo>
                <a:lnTo>
                  <a:pt x="4819" y="1103"/>
                </a:lnTo>
                <a:lnTo>
                  <a:pt x="4817" y="1106"/>
                </a:lnTo>
                <a:lnTo>
                  <a:pt x="4813" y="1107"/>
                </a:lnTo>
                <a:lnTo>
                  <a:pt x="4809" y="1110"/>
                </a:lnTo>
                <a:lnTo>
                  <a:pt x="4807" y="1112"/>
                </a:lnTo>
                <a:lnTo>
                  <a:pt x="4802" y="1118"/>
                </a:lnTo>
                <a:lnTo>
                  <a:pt x="4800" y="1119"/>
                </a:lnTo>
                <a:lnTo>
                  <a:pt x="4800" y="1122"/>
                </a:lnTo>
                <a:lnTo>
                  <a:pt x="4799" y="1123"/>
                </a:lnTo>
                <a:lnTo>
                  <a:pt x="4797" y="1125"/>
                </a:lnTo>
                <a:lnTo>
                  <a:pt x="4797" y="1128"/>
                </a:lnTo>
                <a:lnTo>
                  <a:pt x="4796" y="1130"/>
                </a:lnTo>
                <a:lnTo>
                  <a:pt x="4795" y="1133"/>
                </a:lnTo>
                <a:lnTo>
                  <a:pt x="4795" y="1136"/>
                </a:lnTo>
                <a:lnTo>
                  <a:pt x="4794" y="1140"/>
                </a:lnTo>
                <a:lnTo>
                  <a:pt x="4794" y="1145"/>
                </a:lnTo>
                <a:lnTo>
                  <a:pt x="4795" y="1152"/>
                </a:lnTo>
                <a:lnTo>
                  <a:pt x="4795" y="1155"/>
                </a:lnTo>
                <a:lnTo>
                  <a:pt x="4796" y="1156"/>
                </a:lnTo>
                <a:lnTo>
                  <a:pt x="4797" y="1160"/>
                </a:lnTo>
                <a:lnTo>
                  <a:pt x="4799" y="1163"/>
                </a:lnTo>
                <a:lnTo>
                  <a:pt x="4801" y="1164"/>
                </a:lnTo>
                <a:lnTo>
                  <a:pt x="4802" y="1167"/>
                </a:lnTo>
                <a:lnTo>
                  <a:pt x="4805" y="1169"/>
                </a:lnTo>
                <a:lnTo>
                  <a:pt x="4808" y="1173"/>
                </a:lnTo>
                <a:lnTo>
                  <a:pt x="4811" y="1175"/>
                </a:lnTo>
                <a:lnTo>
                  <a:pt x="4813" y="1177"/>
                </a:lnTo>
                <a:lnTo>
                  <a:pt x="4815" y="1179"/>
                </a:lnTo>
                <a:lnTo>
                  <a:pt x="4817" y="1180"/>
                </a:lnTo>
                <a:lnTo>
                  <a:pt x="4819" y="1182"/>
                </a:lnTo>
                <a:lnTo>
                  <a:pt x="4820" y="1182"/>
                </a:lnTo>
                <a:lnTo>
                  <a:pt x="4823" y="1183"/>
                </a:lnTo>
                <a:lnTo>
                  <a:pt x="4825" y="1184"/>
                </a:lnTo>
                <a:lnTo>
                  <a:pt x="4826" y="1185"/>
                </a:lnTo>
                <a:lnTo>
                  <a:pt x="4828" y="1188"/>
                </a:lnTo>
                <a:lnTo>
                  <a:pt x="4831" y="1189"/>
                </a:lnTo>
                <a:lnTo>
                  <a:pt x="4836" y="1190"/>
                </a:lnTo>
                <a:lnTo>
                  <a:pt x="4840" y="1193"/>
                </a:lnTo>
                <a:lnTo>
                  <a:pt x="4841" y="1194"/>
                </a:lnTo>
                <a:lnTo>
                  <a:pt x="4843" y="1195"/>
                </a:lnTo>
                <a:lnTo>
                  <a:pt x="4846" y="1196"/>
                </a:lnTo>
                <a:lnTo>
                  <a:pt x="4848" y="1197"/>
                </a:lnTo>
                <a:lnTo>
                  <a:pt x="4851" y="1199"/>
                </a:lnTo>
                <a:lnTo>
                  <a:pt x="4852" y="1201"/>
                </a:lnTo>
                <a:lnTo>
                  <a:pt x="4854" y="1201"/>
                </a:lnTo>
                <a:lnTo>
                  <a:pt x="4857" y="1202"/>
                </a:lnTo>
                <a:lnTo>
                  <a:pt x="4860" y="1205"/>
                </a:lnTo>
                <a:lnTo>
                  <a:pt x="4865" y="1207"/>
                </a:lnTo>
                <a:lnTo>
                  <a:pt x="4867" y="1208"/>
                </a:lnTo>
                <a:lnTo>
                  <a:pt x="4870" y="1210"/>
                </a:lnTo>
                <a:lnTo>
                  <a:pt x="4872" y="1212"/>
                </a:lnTo>
                <a:lnTo>
                  <a:pt x="4875" y="1213"/>
                </a:lnTo>
                <a:lnTo>
                  <a:pt x="4877" y="1215"/>
                </a:lnTo>
                <a:lnTo>
                  <a:pt x="4878" y="1216"/>
                </a:lnTo>
                <a:lnTo>
                  <a:pt x="4880" y="1218"/>
                </a:lnTo>
                <a:lnTo>
                  <a:pt x="4882" y="1219"/>
                </a:lnTo>
                <a:lnTo>
                  <a:pt x="4884" y="1221"/>
                </a:lnTo>
                <a:lnTo>
                  <a:pt x="4886" y="1222"/>
                </a:lnTo>
                <a:lnTo>
                  <a:pt x="4889" y="1224"/>
                </a:lnTo>
                <a:lnTo>
                  <a:pt x="4898" y="1232"/>
                </a:lnTo>
                <a:lnTo>
                  <a:pt x="4903" y="1236"/>
                </a:lnTo>
                <a:lnTo>
                  <a:pt x="4906" y="1241"/>
                </a:lnTo>
                <a:lnTo>
                  <a:pt x="4909" y="1246"/>
                </a:lnTo>
                <a:lnTo>
                  <a:pt x="4912" y="1251"/>
                </a:lnTo>
                <a:lnTo>
                  <a:pt x="4915" y="1257"/>
                </a:lnTo>
                <a:lnTo>
                  <a:pt x="4917" y="1263"/>
                </a:lnTo>
                <a:lnTo>
                  <a:pt x="4917" y="1265"/>
                </a:lnTo>
                <a:lnTo>
                  <a:pt x="4917" y="1267"/>
                </a:lnTo>
                <a:lnTo>
                  <a:pt x="4918" y="1271"/>
                </a:lnTo>
                <a:lnTo>
                  <a:pt x="4918" y="1273"/>
                </a:lnTo>
                <a:lnTo>
                  <a:pt x="4919" y="1276"/>
                </a:lnTo>
                <a:lnTo>
                  <a:pt x="4919" y="1282"/>
                </a:lnTo>
                <a:lnTo>
                  <a:pt x="4918" y="1293"/>
                </a:lnTo>
                <a:lnTo>
                  <a:pt x="4916" y="1304"/>
                </a:lnTo>
                <a:lnTo>
                  <a:pt x="4913" y="1312"/>
                </a:lnTo>
                <a:lnTo>
                  <a:pt x="4913" y="1313"/>
                </a:lnTo>
                <a:lnTo>
                  <a:pt x="4912" y="1316"/>
                </a:lnTo>
                <a:lnTo>
                  <a:pt x="4911" y="1318"/>
                </a:lnTo>
                <a:lnTo>
                  <a:pt x="4910" y="1321"/>
                </a:lnTo>
                <a:lnTo>
                  <a:pt x="4907" y="1324"/>
                </a:lnTo>
                <a:lnTo>
                  <a:pt x="4906" y="1327"/>
                </a:lnTo>
                <a:lnTo>
                  <a:pt x="4905" y="1329"/>
                </a:lnTo>
                <a:lnTo>
                  <a:pt x="4903" y="1330"/>
                </a:lnTo>
                <a:lnTo>
                  <a:pt x="4901" y="1332"/>
                </a:lnTo>
                <a:lnTo>
                  <a:pt x="4899" y="1335"/>
                </a:lnTo>
                <a:lnTo>
                  <a:pt x="4893" y="1341"/>
                </a:lnTo>
                <a:lnTo>
                  <a:pt x="4888" y="1348"/>
                </a:lnTo>
                <a:lnTo>
                  <a:pt x="4886" y="1350"/>
                </a:lnTo>
                <a:lnTo>
                  <a:pt x="4883" y="1351"/>
                </a:lnTo>
                <a:lnTo>
                  <a:pt x="4881" y="1352"/>
                </a:lnTo>
                <a:lnTo>
                  <a:pt x="4878" y="1354"/>
                </a:lnTo>
                <a:lnTo>
                  <a:pt x="4876" y="1355"/>
                </a:lnTo>
                <a:lnTo>
                  <a:pt x="4873" y="1356"/>
                </a:lnTo>
                <a:lnTo>
                  <a:pt x="4871" y="1357"/>
                </a:lnTo>
                <a:lnTo>
                  <a:pt x="4867" y="1360"/>
                </a:lnTo>
                <a:lnTo>
                  <a:pt x="4865" y="1361"/>
                </a:lnTo>
                <a:lnTo>
                  <a:pt x="4849" y="1366"/>
                </a:lnTo>
                <a:lnTo>
                  <a:pt x="4846" y="1366"/>
                </a:lnTo>
                <a:lnTo>
                  <a:pt x="4838" y="1368"/>
                </a:lnTo>
                <a:lnTo>
                  <a:pt x="4830" y="1368"/>
                </a:lnTo>
                <a:lnTo>
                  <a:pt x="4813" y="1368"/>
                </a:lnTo>
                <a:lnTo>
                  <a:pt x="4795" y="1367"/>
                </a:lnTo>
                <a:lnTo>
                  <a:pt x="4786" y="1366"/>
                </a:lnTo>
                <a:lnTo>
                  <a:pt x="4766" y="1360"/>
                </a:lnTo>
                <a:lnTo>
                  <a:pt x="4754" y="1354"/>
                </a:lnTo>
                <a:close/>
                <a:moveTo>
                  <a:pt x="4110" y="1365"/>
                </a:moveTo>
                <a:lnTo>
                  <a:pt x="4110" y="1330"/>
                </a:lnTo>
                <a:lnTo>
                  <a:pt x="4107" y="1334"/>
                </a:lnTo>
                <a:lnTo>
                  <a:pt x="4106" y="1337"/>
                </a:lnTo>
                <a:lnTo>
                  <a:pt x="4105" y="1338"/>
                </a:lnTo>
                <a:lnTo>
                  <a:pt x="4104" y="1339"/>
                </a:lnTo>
                <a:lnTo>
                  <a:pt x="4100" y="1344"/>
                </a:lnTo>
                <a:lnTo>
                  <a:pt x="4099" y="1346"/>
                </a:lnTo>
                <a:lnTo>
                  <a:pt x="4093" y="1351"/>
                </a:lnTo>
                <a:lnTo>
                  <a:pt x="4090" y="1354"/>
                </a:lnTo>
                <a:lnTo>
                  <a:pt x="4088" y="1355"/>
                </a:lnTo>
                <a:lnTo>
                  <a:pt x="4087" y="1356"/>
                </a:lnTo>
                <a:lnTo>
                  <a:pt x="4084" y="1357"/>
                </a:lnTo>
                <a:lnTo>
                  <a:pt x="4081" y="1359"/>
                </a:lnTo>
                <a:lnTo>
                  <a:pt x="4078" y="1361"/>
                </a:lnTo>
                <a:lnTo>
                  <a:pt x="4076" y="1362"/>
                </a:lnTo>
                <a:lnTo>
                  <a:pt x="4073" y="1362"/>
                </a:lnTo>
                <a:lnTo>
                  <a:pt x="4060" y="1367"/>
                </a:lnTo>
                <a:lnTo>
                  <a:pt x="4058" y="1367"/>
                </a:lnTo>
                <a:lnTo>
                  <a:pt x="4053" y="1368"/>
                </a:lnTo>
                <a:lnTo>
                  <a:pt x="4049" y="1368"/>
                </a:lnTo>
                <a:lnTo>
                  <a:pt x="4041" y="1368"/>
                </a:lnTo>
                <a:lnTo>
                  <a:pt x="4032" y="1367"/>
                </a:lnTo>
                <a:lnTo>
                  <a:pt x="4025" y="1366"/>
                </a:lnTo>
                <a:lnTo>
                  <a:pt x="4023" y="1366"/>
                </a:lnTo>
                <a:lnTo>
                  <a:pt x="4019" y="1365"/>
                </a:lnTo>
                <a:lnTo>
                  <a:pt x="4015" y="1363"/>
                </a:lnTo>
                <a:lnTo>
                  <a:pt x="4013" y="1362"/>
                </a:lnTo>
                <a:lnTo>
                  <a:pt x="4010" y="1361"/>
                </a:lnTo>
                <a:lnTo>
                  <a:pt x="4008" y="1360"/>
                </a:lnTo>
                <a:lnTo>
                  <a:pt x="4006" y="1359"/>
                </a:lnTo>
                <a:lnTo>
                  <a:pt x="4003" y="1357"/>
                </a:lnTo>
                <a:lnTo>
                  <a:pt x="4002" y="1356"/>
                </a:lnTo>
                <a:lnTo>
                  <a:pt x="4000" y="1355"/>
                </a:lnTo>
                <a:lnTo>
                  <a:pt x="3998" y="1352"/>
                </a:lnTo>
                <a:lnTo>
                  <a:pt x="3992" y="1348"/>
                </a:lnTo>
                <a:lnTo>
                  <a:pt x="3989" y="1344"/>
                </a:lnTo>
                <a:lnTo>
                  <a:pt x="3986" y="1341"/>
                </a:lnTo>
                <a:lnTo>
                  <a:pt x="3985" y="1339"/>
                </a:lnTo>
                <a:lnTo>
                  <a:pt x="3985" y="1338"/>
                </a:lnTo>
                <a:lnTo>
                  <a:pt x="3984" y="1337"/>
                </a:lnTo>
                <a:lnTo>
                  <a:pt x="3983" y="1334"/>
                </a:lnTo>
                <a:lnTo>
                  <a:pt x="3981" y="1330"/>
                </a:lnTo>
                <a:lnTo>
                  <a:pt x="3980" y="1328"/>
                </a:lnTo>
                <a:lnTo>
                  <a:pt x="3979" y="1327"/>
                </a:lnTo>
                <a:lnTo>
                  <a:pt x="3978" y="1324"/>
                </a:lnTo>
                <a:lnTo>
                  <a:pt x="3977" y="1321"/>
                </a:lnTo>
                <a:lnTo>
                  <a:pt x="3977" y="1319"/>
                </a:lnTo>
                <a:lnTo>
                  <a:pt x="3975" y="1317"/>
                </a:lnTo>
                <a:lnTo>
                  <a:pt x="3975" y="1316"/>
                </a:lnTo>
                <a:lnTo>
                  <a:pt x="3974" y="1313"/>
                </a:lnTo>
                <a:lnTo>
                  <a:pt x="3974" y="1311"/>
                </a:lnTo>
                <a:lnTo>
                  <a:pt x="3973" y="1307"/>
                </a:lnTo>
                <a:lnTo>
                  <a:pt x="3973" y="1305"/>
                </a:lnTo>
                <a:lnTo>
                  <a:pt x="3972" y="1300"/>
                </a:lnTo>
                <a:lnTo>
                  <a:pt x="3972" y="1293"/>
                </a:lnTo>
                <a:lnTo>
                  <a:pt x="3971" y="1284"/>
                </a:lnTo>
                <a:lnTo>
                  <a:pt x="3972" y="1276"/>
                </a:lnTo>
                <a:lnTo>
                  <a:pt x="3972" y="1272"/>
                </a:lnTo>
                <a:lnTo>
                  <a:pt x="3973" y="1268"/>
                </a:lnTo>
                <a:lnTo>
                  <a:pt x="3973" y="1266"/>
                </a:lnTo>
                <a:lnTo>
                  <a:pt x="3974" y="1263"/>
                </a:lnTo>
                <a:lnTo>
                  <a:pt x="3974" y="1261"/>
                </a:lnTo>
                <a:lnTo>
                  <a:pt x="3975" y="1260"/>
                </a:lnTo>
                <a:lnTo>
                  <a:pt x="3975" y="1257"/>
                </a:lnTo>
                <a:lnTo>
                  <a:pt x="3977" y="1256"/>
                </a:lnTo>
                <a:lnTo>
                  <a:pt x="3977" y="1254"/>
                </a:lnTo>
                <a:lnTo>
                  <a:pt x="3978" y="1251"/>
                </a:lnTo>
                <a:lnTo>
                  <a:pt x="3980" y="1247"/>
                </a:lnTo>
                <a:lnTo>
                  <a:pt x="3981" y="1245"/>
                </a:lnTo>
                <a:lnTo>
                  <a:pt x="3983" y="1241"/>
                </a:lnTo>
                <a:lnTo>
                  <a:pt x="3984" y="1240"/>
                </a:lnTo>
                <a:lnTo>
                  <a:pt x="3985" y="1238"/>
                </a:lnTo>
                <a:lnTo>
                  <a:pt x="3986" y="1236"/>
                </a:lnTo>
                <a:lnTo>
                  <a:pt x="3988" y="1234"/>
                </a:lnTo>
                <a:lnTo>
                  <a:pt x="3989" y="1233"/>
                </a:lnTo>
                <a:lnTo>
                  <a:pt x="3992" y="1230"/>
                </a:lnTo>
                <a:lnTo>
                  <a:pt x="3995" y="1227"/>
                </a:lnTo>
                <a:lnTo>
                  <a:pt x="4000" y="1221"/>
                </a:lnTo>
                <a:lnTo>
                  <a:pt x="4003" y="1218"/>
                </a:lnTo>
                <a:lnTo>
                  <a:pt x="4004" y="1217"/>
                </a:lnTo>
                <a:lnTo>
                  <a:pt x="4007" y="1216"/>
                </a:lnTo>
                <a:lnTo>
                  <a:pt x="4009" y="1215"/>
                </a:lnTo>
                <a:lnTo>
                  <a:pt x="4010" y="1213"/>
                </a:lnTo>
                <a:lnTo>
                  <a:pt x="4013" y="1212"/>
                </a:lnTo>
                <a:lnTo>
                  <a:pt x="4014" y="1211"/>
                </a:lnTo>
                <a:lnTo>
                  <a:pt x="4017" y="1210"/>
                </a:lnTo>
                <a:lnTo>
                  <a:pt x="4019" y="1208"/>
                </a:lnTo>
                <a:lnTo>
                  <a:pt x="4021" y="1207"/>
                </a:lnTo>
                <a:lnTo>
                  <a:pt x="4024" y="1206"/>
                </a:lnTo>
                <a:lnTo>
                  <a:pt x="4029" y="1204"/>
                </a:lnTo>
                <a:lnTo>
                  <a:pt x="4030" y="1204"/>
                </a:lnTo>
                <a:lnTo>
                  <a:pt x="4032" y="1202"/>
                </a:lnTo>
                <a:lnTo>
                  <a:pt x="4036" y="1201"/>
                </a:lnTo>
                <a:lnTo>
                  <a:pt x="4038" y="1200"/>
                </a:lnTo>
                <a:lnTo>
                  <a:pt x="4041" y="1199"/>
                </a:lnTo>
                <a:lnTo>
                  <a:pt x="4042" y="1199"/>
                </a:lnTo>
                <a:lnTo>
                  <a:pt x="4043" y="1197"/>
                </a:lnTo>
                <a:lnTo>
                  <a:pt x="4048" y="1196"/>
                </a:lnTo>
                <a:lnTo>
                  <a:pt x="4071" y="1191"/>
                </a:lnTo>
                <a:lnTo>
                  <a:pt x="4078" y="1190"/>
                </a:lnTo>
                <a:lnTo>
                  <a:pt x="4081" y="1190"/>
                </a:lnTo>
                <a:lnTo>
                  <a:pt x="4084" y="1190"/>
                </a:lnTo>
                <a:lnTo>
                  <a:pt x="4088" y="1189"/>
                </a:lnTo>
                <a:lnTo>
                  <a:pt x="4091" y="1189"/>
                </a:lnTo>
                <a:lnTo>
                  <a:pt x="4095" y="1188"/>
                </a:lnTo>
                <a:lnTo>
                  <a:pt x="4102" y="1186"/>
                </a:lnTo>
                <a:lnTo>
                  <a:pt x="4110" y="1185"/>
                </a:lnTo>
                <a:lnTo>
                  <a:pt x="4110" y="1174"/>
                </a:lnTo>
                <a:lnTo>
                  <a:pt x="4110" y="1163"/>
                </a:lnTo>
                <a:lnTo>
                  <a:pt x="4108" y="1155"/>
                </a:lnTo>
                <a:lnTo>
                  <a:pt x="4107" y="1150"/>
                </a:lnTo>
                <a:lnTo>
                  <a:pt x="4107" y="1145"/>
                </a:lnTo>
                <a:lnTo>
                  <a:pt x="4105" y="1138"/>
                </a:lnTo>
                <a:lnTo>
                  <a:pt x="4101" y="1130"/>
                </a:lnTo>
                <a:lnTo>
                  <a:pt x="4099" y="1127"/>
                </a:lnTo>
                <a:lnTo>
                  <a:pt x="4096" y="1124"/>
                </a:lnTo>
                <a:lnTo>
                  <a:pt x="4090" y="1118"/>
                </a:lnTo>
                <a:lnTo>
                  <a:pt x="4089" y="1117"/>
                </a:lnTo>
                <a:lnTo>
                  <a:pt x="4087" y="1116"/>
                </a:lnTo>
                <a:lnTo>
                  <a:pt x="4085" y="1114"/>
                </a:lnTo>
                <a:lnTo>
                  <a:pt x="4079" y="1112"/>
                </a:lnTo>
                <a:lnTo>
                  <a:pt x="4076" y="1111"/>
                </a:lnTo>
                <a:lnTo>
                  <a:pt x="4073" y="1110"/>
                </a:lnTo>
                <a:lnTo>
                  <a:pt x="4072" y="1110"/>
                </a:lnTo>
                <a:lnTo>
                  <a:pt x="4065" y="1108"/>
                </a:lnTo>
                <a:lnTo>
                  <a:pt x="4062" y="1107"/>
                </a:lnTo>
                <a:lnTo>
                  <a:pt x="4058" y="1107"/>
                </a:lnTo>
                <a:lnTo>
                  <a:pt x="4049" y="1107"/>
                </a:lnTo>
                <a:lnTo>
                  <a:pt x="4042" y="1110"/>
                </a:lnTo>
                <a:lnTo>
                  <a:pt x="4036" y="1111"/>
                </a:lnTo>
                <a:lnTo>
                  <a:pt x="4035" y="1112"/>
                </a:lnTo>
                <a:lnTo>
                  <a:pt x="4032" y="1113"/>
                </a:lnTo>
                <a:lnTo>
                  <a:pt x="4030" y="1117"/>
                </a:lnTo>
                <a:lnTo>
                  <a:pt x="4029" y="1118"/>
                </a:lnTo>
                <a:lnTo>
                  <a:pt x="4027" y="1119"/>
                </a:lnTo>
                <a:lnTo>
                  <a:pt x="4027" y="1122"/>
                </a:lnTo>
                <a:lnTo>
                  <a:pt x="4026" y="1124"/>
                </a:lnTo>
                <a:lnTo>
                  <a:pt x="4025" y="1127"/>
                </a:lnTo>
                <a:lnTo>
                  <a:pt x="4023" y="1130"/>
                </a:lnTo>
                <a:lnTo>
                  <a:pt x="4023" y="1132"/>
                </a:lnTo>
                <a:lnTo>
                  <a:pt x="4020" y="1135"/>
                </a:lnTo>
                <a:lnTo>
                  <a:pt x="4020" y="1138"/>
                </a:lnTo>
                <a:lnTo>
                  <a:pt x="4018" y="1141"/>
                </a:lnTo>
                <a:lnTo>
                  <a:pt x="4018" y="1143"/>
                </a:lnTo>
                <a:lnTo>
                  <a:pt x="4017" y="1145"/>
                </a:lnTo>
                <a:lnTo>
                  <a:pt x="4015" y="1147"/>
                </a:lnTo>
                <a:lnTo>
                  <a:pt x="4014" y="1150"/>
                </a:lnTo>
                <a:lnTo>
                  <a:pt x="4013" y="1153"/>
                </a:lnTo>
                <a:lnTo>
                  <a:pt x="4012" y="1156"/>
                </a:lnTo>
                <a:lnTo>
                  <a:pt x="4010" y="1158"/>
                </a:lnTo>
                <a:lnTo>
                  <a:pt x="4006" y="1162"/>
                </a:lnTo>
                <a:lnTo>
                  <a:pt x="4003" y="1162"/>
                </a:lnTo>
                <a:lnTo>
                  <a:pt x="4000" y="1163"/>
                </a:lnTo>
                <a:lnTo>
                  <a:pt x="3997" y="1164"/>
                </a:lnTo>
                <a:lnTo>
                  <a:pt x="3994" y="1164"/>
                </a:lnTo>
                <a:lnTo>
                  <a:pt x="3991" y="1163"/>
                </a:lnTo>
                <a:lnTo>
                  <a:pt x="3989" y="1161"/>
                </a:lnTo>
                <a:lnTo>
                  <a:pt x="3988" y="1160"/>
                </a:lnTo>
                <a:lnTo>
                  <a:pt x="3986" y="1157"/>
                </a:lnTo>
                <a:lnTo>
                  <a:pt x="3985" y="1153"/>
                </a:lnTo>
                <a:lnTo>
                  <a:pt x="3985" y="1151"/>
                </a:lnTo>
                <a:lnTo>
                  <a:pt x="3985" y="1144"/>
                </a:lnTo>
                <a:lnTo>
                  <a:pt x="3985" y="1140"/>
                </a:lnTo>
                <a:lnTo>
                  <a:pt x="3989" y="1127"/>
                </a:lnTo>
                <a:lnTo>
                  <a:pt x="3990" y="1119"/>
                </a:lnTo>
                <a:lnTo>
                  <a:pt x="3992" y="1113"/>
                </a:lnTo>
                <a:lnTo>
                  <a:pt x="3992" y="1107"/>
                </a:lnTo>
                <a:lnTo>
                  <a:pt x="3994" y="1102"/>
                </a:lnTo>
                <a:lnTo>
                  <a:pt x="3995" y="1100"/>
                </a:lnTo>
                <a:lnTo>
                  <a:pt x="3995" y="1097"/>
                </a:lnTo>
                <a:lnTo>
                  <a:pt x="3996" y="1094"/>
                </a:lnTo>
                <a:lnTo>
                  <a:pt x="3998" y="1084"/>
                </a:lnTo>
                <a:lnTo>
                  <a:pt x="4009" y="1080"/>
                </a:lnTo>
                <a:lnTo>
                  <a:pt x="4012" y="1080"/>
                </a:lnTo>
                <a:lnTo>
                  <a:pt x="4013" y="1079"/>
                </a:lnTo>
                <a:lnTo>
                  <a:pt x="4014" y="1079"/>
                </a:lnTo>
                <a:lnTo>
                  <a:pt x="4017" y="1078"/>
                </a:lnTo>
                <a:lnTo>
                  <a:pt x="4019" y="1078"/>
                </a:lnTo>
                <a:lnTo>
                  <a:pt x="4021" y="1077"/>
                </a:lnTo>
                <a:lnTo>
                  <a:pt x="4024" y="1077"/>
                </a:lnTo>
                <a:lnTo>
                  <a:pt x="4026" y="1075"/>
                </a:lnTo>
                <a:lnTo>
                  <a:pt x="4043" y="1073"/>
                </a:lnTo>
                <a:lnTo>
                  <a:pt x="4052" y="1073"/>
                </a:lnTo>
                <a:lnTo>
                  <a:pt x="4068" y="1073"/>
                </a:lnTo>
                <a:lnTo>
                  <a:pt x="4079" y="1074"/>
                </a:lnTo>
                <a:lnTo>
                  <a:pt x="4096" y="1079"/>
                </a:lnTo>
                <a:lnTo>
                  <a:pt x="4099" y="1080"/>
                </a:lnTo>
                <a:lnTo>
                  <a:pt x="4100" y="1081"/>
                </a:lnTo>
                <a:lnTo>
                  <a:pt x="4104" y="1083"/>
                </a:lnTo>
                <a:lnTo>
                  <a:pt x="4106" y="1084"/>
                </a:lnTo>
                <a:lnTo>
                  <a:pt x="4108" y="1086"/>
                </a:lnTo>
                <a:lnTo>
                  <a:pt x="4111" y="1088"/>
                </a:lnTo>
                <a:lnTo>
                  <a:pt x="4112" y="1088"/>
                </a:lnTo>
                <a:lnTo>
                  <a:pt x="4114" y="1089"/>
                </a:lnTo>
                <a:lnTo>
                  <a:pt x="4116" y="1090"/>
                </a:lnTo>
                <a:lnTo>
                  <a:pt x="4117" y="1092"/>
                </a:lnTo>
                <a:lnTo>
                  <a:pt x="4120" y="1095"/>
                </a:lnTo>
                <a:lnTo>
                  <a:pt x="4123" y="1097"/>
                </a:lnTo>
                <a:lnTo>
                  <a:pt x="4128" y="1102"/>
                </a:lnTo>
                <a:lnTo>
                  <a:pt x="4131" y="1106"/>
                </a:lnTo>
                <a:lnTo>
                  <a:pt x="4133" y="1108"/>
                </a:lnTo>
                <a:lnTo>
                  <a:pt x="4134" y="1110"/>
                </a:lnTo>
                <a:lnTo>
                  <a:pt x="4135" y="1112"/>
                </a:lnTo>
                <a:lnTo>
                  <a:pt x="4136" y="1113"/>
                </a:lnTo>
                <a:lnTo>
                  <a:pt x="4137" y="1116"/>
                </a:lnTo>
                <a:lnTo>
                  <a:pt x="4140" y="1119"/>
                </a:lnTo>
                <a:lnTo>
                  <a:pt x="4141" y="1123"/>
                </a:lnTo>
                <a:lnTo>
                  <a:pt x="4142" y="1125"/>
                </a:lnTo>
                <a:lnTo>
                  <a:pt x="4143" y="1128"/>
                </a:lnTo>
                <a:lnTo>
                  <a:pt x="4145" y="1133"/>
                </a:lnTo>
                <a:lnTo>
                  <a:pt x="4145" y="1135"/>
                </a:lnTo>
                <a:lnTo>
                  <a:pt x="4146" y="1136"/>
                </a:lnTo>
                <a:lnTo>
                  <a:pt x="4146" y="1139"/>
                </a:lnTo>
                <a:lnTo>
                  <a:pt x="4147" y="1141"/>
                </a:lnTo>
                <a:lnTo>
                  <a:pt x="4148" y="1152"/>
                </a:lnTo>
                <a:lnTo>
                  <a:pt x="4149" y="1161"/>
                </a:lnTo>
                <a:lnTo>
                  <a:pt x="4149" y="1191"/>
                </a:lnTo>
                <a:lnTo>
                  <a:pt x="4149" y="1279"/>
                </a:lnTo>
                <a:lnTo>
                  <a:pt x="4149" y="1304"/>
                </a:lnTo>
                <a:lnTo>
                  <a:pt x="4149" y="1316"/>
                </a:lnTo>
                <a:lnTo>
                  <a:pt x="4151" y="1327"/>
                </a:lnTo>
                <a:lnTo>
                  <a:pt x="4153" y="1329"/>
                </a:lnTo>
                <a:lnTo>
                  <a:pt x="4157" y="1332"/>
                </a:lnTo>
                <a:lnTo>
                  <a:pt x="4164" y="1333"/>
                </a:lnTo>
                <a:lnTo>
                  <a:pt x="4165" y="1334"/>
                </a:lnTo>
                <a:lnTo>
                  <a:pt x="4168" y="1334"/>
                </a:lnTo>
                <a:lnTo>
                  <a:pt x="4169" y="1335"/>
                </a:lnTo>
                <a:lnTo>
                  <a:pt x="4171" y="1335"/>
                </a:lnTo>
                <a:lnTo>
                  <a:pt x="4172" y="1337"/>
                </a:lnTo>
                <a:lnTo>
                  <a:pt x="4178" y="1338"/>
                </a:lnTo>
                <a:lnTo>
                  <a:pt x="4185" y="1340"/>
                </a:lnTo>
                <a:lnTo>
                  <a:pt x="4187" y="1341"/>
                </a:lnTo>
                <a:lnTo>
                  <a:pt x="4188" y="1343"/>
                </a:lnTo>
                <a:lnTo>
                  <a:pt x="4189" y="1345"/>
                </a:lnTo>
                <a:lnTo>
                  <a:pt x="4191" y="1346"/>
                </a:lnTo>
                <a:lnTo>
                  <a:pt x="4191" y="1349"/>
                </a:lnTo>
                <a:lnTo>
                  <a:pt x="4191" y="1354"/>
                </a:lnTo>
                <a:lnTo>
                  <a:pt x="4189" y="1359"/>
                </a:lnTo>
                <a:lnTo>
                  <a:pt x="4188" y="1360"/>
                </a:lnTo>
                <a:lnTo>
                  <a:pt x="4188" y="1361"/>
                </a:lnTo>
                <a:lnTo>
                  <a:pt x="4186" y="1362"/>
                </a:lnTo>
                <a:lnTo>
                  <a:pt x="4185" y="1362"/>
                </a:lnTo>
                <a:lnTo>
                  <a:pt x="4183" y="1363"/>
                </a:lnTo>
                <a:lnTo>
                  <a:pt x="4165" y="1365"/>
                </a:lnTo>
                <a:lnTo>
                  <a:pt x="4147" y="1365"/>
                </a:lnTo>
                <a:lnTo>
                  <a:pt x="4110" y="1365"/>
                </a:lnTo>
                <a:close/>
                <a:moveTo>
                  <a:pt x="3486" y="1365"/>
                </a:moveTo>
                <a:lnTo>
                  <a:pt x="3486" y="1333"/>
                </a:lnTo>
                <a:lnTo>
                  <a:pt x="3481" y="1338"/>
                </a:lnTo>
                <a:lnTo>
                  <a:pt x="3479" y="1340"/>
                </a:lnTo>
                <a:lnTo>
                  <a:pt x="3474" y="1346"/>
                </a:lnTo>
                <a:lnTo>
                  <a:pt x="3473" y="1349"/>
                </a:lnTo>
                <a:lnTo>
                  <a:pt x="3469" y="1351"/>
                </a:lnTo>
                <a:lnTo>
                  <a:pt x="3467" y="1352"/>
                </a:lnTo>
                <a:lnTo>
                  <a:pt x="3464" y="1355"/>
                </a:lnTo>
                <a:lnTo>
                  <a:pt x="3463" y="1356"/>
                </a:lnTo>
                <a:lnTo>
                  <a:pt x="3461" y="1356"/>
                </a:lnTo>
                <a:lnTo>
                  <a:pt x="3457" y="1359"/>
                </a:lnTo>
                <a:lnTo>
                  <a:pt x="3452" y="1361"/>
                </a:lnTo>
                <a:lnTo>
                  <a:pt x="3451" y="1361"/>
                </a:lnTo>
                <a:lnTo>
                  <a:pt x="3448" y="1362"/>
                </a:lnTo>
                <a:lnTo>
                  <a:pt x="3442" y="1365"/>
                </a:lnTo>
                <a:lnTo>
                  <a:pt x="3441" y="1365"/>
                </a:lnTo>
                <a:lnTo>
                  <a:pt x="3439" y="1366"/>
                </a:lnTo>
                <a:lnTo>
                  <a:pt x="3436" y="1366"/>
                </a:lnTo>
                <a:lnTo>
                  <a:pt x="3433" y="1366"/>
                </a:lnTo>
                <a:lnTo>
                  <a:pt x="3429" y="1367"/>
                </a:lnTo>
                <a:lnTo>
                  <a:pt x="3424" y="1367"/>
                </a:lnTo>
                <a:lnTo>
                  <a:pt x="3421" y="1368"/>
                </a:lnTo>
                <a:lnTo>
                  <a:pt x="3417" y="1368"/>
                </a:lnTo>
                <a:lnTo>
                  <a:pt x="3409" y="1368"/>
                </a:lnTo>
                <a:lnTo>
                  <a:pt x="3400" y="1367"/>
                </a:lnTo>
                <a:lnTo>
                  <a:pt x="3393" y="1366"/>
                </a:lnTo>
                <a:lnTo>
                  <a:pt x="3386" y="1365"/>
                </a:lnTo>
                <a:lnTo>
                  <a:pt x="3381" y="1362"/>
                </a:lnTo>
                <a:lnTo>
                  <a:pt x="3377" y="1361"/>
                </a:lnTo>
                <a:lnTo>
                  <a:pt x="3375" y="1360"/>
                </a:lnTo>
                <a:lnTo>
                  <a:pt x="3371" y="1357"/>
                </a:lnTo>
                <a:lnTo>
                  <a:pt x="3370" y="1356"/>
                </a:lnTo>
                <a:lnTo>
                  <a:pt x="3367" y="1355"/>
                </a:lnTo>
                <a:lnTo>
                  <a:pt x="3366" y="1354"/>
                </a:lnTo>
                <a:lnTo>
                  <a:pt x="3364" y="1352"/>
                </a:lnTo>
                <a:lnTo>
                  <a:pt x="3361" y="1350"/>
                </a:lnTo>
                <a:lnTo>
                  <a:pt x="3358" y="1346"/>
                </a:lnTo>
                <a:lnTo>
                  <a:pt x="3354" y="1343"/>
                </a:lnTo>
                <a:lnTo>
                  <a:pt x="3347" y="1334"/>
                </a:lnTo>
                <a:lnTo>
                  <a:pt x="3342" y="1326"/>
                </a:lnTo>
                <a:lnTo>
                  <a:pt x="3337" y="1315"/>
                </a:lnTo>
                <a:lnTo>
                  <a:pt x="3336" y="1311"/>
                </a:lnTo>
                <a:lnTo>
                  <a:pt x="3335" y="1306"/>
                </a:lnTo>
                <a:lnTo>
                  <a:pt x="3334" y="1299"/>
                </a:lnTo>
                <a:lnTo>
                  <a:pt x="3332" y="1293"/>
                </a:lnTo>
                <a:lnTo>
                  <a:pt x="3331" y="1285"/>
                </a:lnTo>
                <a:lnTo>
                  <a:pt x="3331" y="1271"/>
                </a:lnTo>
                <a:lnTo>
                  <a:pt x="3331" y="1256"/>
                </a:lnTo>
                <a:lnTo>
                  <a:pt x="3331" y="1167"/>
                </a:lnTo>
                <a:lnTo>
                  <a:pt x="3331" y="1139"/>
                </a:lnTo>
                <a:lnTo>
                  <a:pt x="3331" y="1130"/>
                </a:lnTo>
                <a:lnTo>
                  <a:pt x="3331" y="1122"/>
                </a:lnTo>
                <a:lnTo>
                  <a:pt x="3326" y="1122"/>
                </a:lnTo>
                <a:lnTo>
                  <a:pt x="3322" y="1122"/>
                </a:lnTo>
                <a:lnTo>
                  <a:pt x="3312" y="1122"/>
                </a:lnTo>
                <a:lnTo>
                  <a:pt x="3302" y="1122"/>
                </a:lnTo>
                <a:lnTo>
                  <a:pt x="3294" y="1121"/>
                </a:lnTo>
                <a:lnTo>
                  <a:pt x="3291" y="1118"/>
                </a:lnTo>
                <a:lnTo>
                  <a:pt x="3291" y="1117"/>
                </a:lnTo>
                <a:lnTo>
                  <a:pt x="3290" y="1116"/>
                </a:lnTo>
                <a:lnTo>
                  <a:pt x="3290" y="1112"/>
                </a:lnTo>
                <a:lnTo>
                  <a:pt x="3290" y="1108"/>
                </a:lnTo>
                <a:lnTo>
                  <a:pt x="3290" y="1106"/>
                </a:lnTo>
                <a:lnTo>
                  <a:pt x="3291" y="1106"/>
                </a:lnTo>
                <a:lnTo>
                  <a:pt x="3293" y="1103"/>
                </a:lnTo>
                <a:lnTo>
                  <a:pt x="3295" y="1102"/>
                </a:lnTo>
                <a:lnTo>
                  <a:pt x="3297" y="1102"/>
                </a:lnTo>
                <a:lnTo>
                  <a:pt x="3300" y="1100"/>
                </a:lnTo>
                <a:lnTo>
                  <a:pt x="3302" y="1099"/>
                </a:lnTo>
                <a:lnTo>
                  <a:pt x="3305" y="1097"/>
                </a:lnTo>
                <a:lnTo>
                  <a:pt x="3307" y="1096"/>
                </a:lnTo>
                <a:lnTo>
                  <a:pt x="3309" y="1095"/>
                </a:lnTo>
                <a:lnTo>
                  <a:pt x="3312" y="1094"/>
                </a:lnTo>
                <a:lnTo>
                  <a:pt x="3314" y="1092"/>
                </a:lnTo>
                <a:lnTo>
                  <a:pt x="3317" y="1091"/>
                </a:lnTo>
                <a:lnTo>
                  <a:pt x="3319" y="1090"/>
                </a:lnTo>
                <a:lnTo>
                  <a:pt x="3323" y="1088"/>
                </a:lnTo>
                <a:lnTo>
                  <a:pt x="3325" y="1088"/>
                </a:lnTo>
                <a:lnTo>
                  <a:pt x="3328" y="1086"/>
                </a:lnTo>
                <a:lnTo>
                  <a:pt x="3330" y="1085"/>
                </a:lnTo>
                <a:lnTo>
                  <a:pt x="3332" y="1084"/>
                </a:lnTo>
                <a:lnTo>
                  <a:pt x="3335" y="1083"/>
                </a:lnTo>
                <a:lnTo>
                  <a:pt x="3337" y="1081"/>
                </a:lnTo>
                <a:lnTo>
                  <a:pt x="3340" y="1080"/>
                </a:lnTo>
                <a:lnTo>
                  <a:pt x="3342" y="1079"/>
                </a:lnTo>
                <a:lnTo>
                  <a:pt x="3343" y="1078"/>
                </a:lnTo>
                <a:lnTo>
                  <a:pt x="3346" y="1077"/>
                </a:lnTo>
                <a:lnTo>
                  <a:pt x="3348" y="1075"/>
                </a:lnTo>
                <a:lnTo>
                  <a:pt x="3351" y="1074"/>
                </a:lnTo>
                <a:lnTo>
                  <a:pt x="3355" y="1073"/>
                </a:lnTo>
                <a:lnTo>
                  <a:pt x="3365" y="1072"/>
                </a:lnTo>
                <a:lnTo>
                  <a:pt x="3367" y="1073"/>
                </a:lnTo>
                <a:lnTo>
                  <a:pt x="3371" y="1078"/>
                </a:lnTo>
                <a:lnTo>
                  <a:pt x="3371" y="1081"/>
                </a:lnTo>
                <a:lnTo>
                  <a:pt x="3371" y="1086"/>
                </a:lnTo>
                <a:lnTo>
                  <a:pt x="3371" y="1095"/>
                </a:lnTo>
                <a:lnTo>
                  <a:pt x="3371" y="1133"/>
                </a:lnTo>
                <a:lnTo>
                  <a:pt x="3371" y="1239"/>
                </a:lnTo>
                <a:lnTo>
                  <a:pt x="3371" y="1274"/>
                </a:lnTo>
                <a:lnTo>
                  <a:pt x="3372" y="1291"/>
                </a:lnTo>
                <a:lnTo>
                  <a:pt x="3372" y="1294"/>
                </a:lnTo>
                <a:lnTo>
                  <a:pt x="3373" y="1296"/>
                </a:lnTo>
                <a:lnTo>
                  <a:pt x="3373" y="1298"/>
                </a:lnTo>
                <a:lnTo>
                  <a:pt x="3375" y="1300"/>
                </a:lnTo>
                <a:lnTo>
                  <a:pt x="3375" y="1301"/>
                </a:lnTo>
                <a:lnTo>
                  <a:pt x="3376" y="1305"/>
                </a:lnTo>
                <a:lnTo>
                  <a:pt x="3377" y="1307"/>
                </a:lnTo>
                <a:lnTo>
                  <a:pt x="3378" y="1308"/>
                </a:lnTo>
                <a:lnTo>
                  <a:pt x="3380" y="1311"/>
                </a:lnTo>
                <a:lnTo>
                  <a:pt x="3381" y="1312"/>
                </a:lnTo>
                <a:lnTo>
                  <a:pt x="3383" y="1315"/>
                </a:lnTo>
                <a:lnTo>
                  <a:pt x="3388" y="1319"/>
                </a:lnTo>
                <a:lnTo>
                  <a:pt x="3389" y="1321"/>
                </a:lnTo>
                <a:lnTo>
                  <a:pt x="3390" y="1322"/>
                </a:lnTo>
                <a:lnTo>
                  <a:pt x="3393" y="1323"/>
                </a:lnTo>
                <a:lnTo>
                  <a:pt x="3394" y="1324"/>
                </a:lnTo>
                <a:lnTo>
                  <a:pt x="3396" y="1326"/>
                </a:lnTo>
                <a:lnTo>
                  <a:pt x="3399" y="1327"/>
                </a:lnTo>
                <a:lnTo>
                  <a:pt x="3401" y="1328"/>
                </a:lnTo>
                <a:lnTo>
                  <a:pt x="3409" y="1330"/>
                </a:lnTo>
                <a:lnTo>
                  <a:pt x="3412" y="1332"/>
                </a:lnTo>
                <a:lnTo>
                  <a:pt x="3417" y="1332"/>
                </a:lnTo>
                <a:lnTo>
                  <a:pt x="3422" y="1332"/>
                </a:lnTo>
                <a:lnTo>
                  <a:pt x="3427" y="1332"/>
                </a:lnTo>
                <a:lnTo>
                  <a:pt x="3435" y="1330"/>
                </a:lnTo>
                <a:lnTo>
                  <a:pt x="3442" y="1328"/>
                </a:lnTo>
                <a:lnTo>
                  <a:pt x="3446" y="1327"/>
                </a:lnTo>
                <a:lnTo>
                  <a:pt x="3450" y="1326"/>
                </a:lnTo>
                <a:lnTo>
                  <a:pt x="3452" y="1324"/>
                </a:lnTo>
                <a:lnTo>
                  <a:pt x="3454" y="1323"/>
                </a:lnTo>
                <a:lnTo>
                  <a:pt x="3456" y="1322"/>
                </a:lnTo>
                <a:lnTo>
                  <a:pt x="3459" y="1321"/>
                </a:lnTo>
                <a:lnTo>
                  <a:pt x="3461" y="1319"/>
                </a:lnTo>
                <a:lnTo>
                  <a:pt x="3462" y="1317"/>
                </a:lnTo>
                <a:lnTo>
                  <a:pt x="3467" y="1313"/>
                </a:lnTo>
                <a:lnTo>
                  <a:pt x="3468" y="1312"/>
                </a:lnTo>
                <a:lnTo>
                  <a:pt x="3473" y="1307"/>
                </a:lnTo>
                <a:lnTo>
                  <a:pt x="3475" y="1305"/>
                </a:lnTo>
                <a:lnTo>
                  <a:pt x="3476" y="1304"/>
                </a:lnTo>
                <a:lnTo>
                  <a:pt x="3476" y="1301"/>
                </a:lnTo>
                <a:lnTo>
                  <a:pt x="3477" y="1298"/>
                </a:lnTo>
                <a:lnTo>
                  <a:pt x="3479" y="1296"/>
                </a:lnTo>
                <a:lnTo>
                  <a:pt x="3480" y="1293"/>
                </a:lnTo>
                <a:lnTo>
                  <a:pt x="3481" y="1291"/>
                </a:lnTo>
                <a:lnTo>
                  <a:pt x="3482" y="1289"/>
                </a:lnTo>
                <a:lnTo>
                  <a:pt x="3482" y="1288"/>
                </a:lnTo>
                <a:lnTo>
                  <a:pt x="3483" y="1285"/>
                </a:lnTo>
                <a:lnTo>
                  <a:pt x="3483" y="1283"/>
                </a:lnTo>
                <a:lnTo>
                  <a:pt x="3486" y="1277"/>
                </a:lnTo>
                <a:lnTo>
                  <a:pt x="3486" y="1269"/>
                </a:lnTo>
                <a:lnTo>
                  <a:pt x="3486" y="1252"/>
                </a:lnTo>
                <a:lnTo>
                  <a:pt x="3486" y="1196"/>
                </a:lnTo>
                <a:lnTo>
                  <a:pt x="3486" y="1146"/>
                </a:lnTo>
                <a:lnTo>
                  <a:pt x="3486" y="1134"/>
                </a:lnTo>
                <a:lnTo>
                  <a:pt x="3486" y="1127"/>
                </a:lnTo>
                <a:lnTo>
                  <a:pt x="3485" y="1122"/>
                </a:lnTo>
                <a:lnTo>
                  <a:pt x="3482" y="1122"/>
                </a:lnTo>
                <a:lnTo>
                  <a:pt x="3480" y="1122"/>
                </a:lnTo>
                <a:lnTo>
                  <a:pt x="3474" y="1122"/>
                </a:lnTo>
                <a:lnTo>
                  <a:pt x="3451" y="1122"/>
                </a:lnTo>
                <a:lnTo>
                  <a:pt x="3448" y="1121"/>
                </a:lnTo>
                <a:lnTo>
                  <a:pt x="3447" y="1118"/>
                </a:lnTo>
                <a:lnTo>
                  <a:pt x="3446" y="1116"/>
                </a:lnTo>
                <a:lnTo>
                  <a:pt x="3445" y="1113"/>
                </a:lnTo>
                <a:lnTo>
                  <a:pt x="3445" y="1110"/>
                </a:lnTo>
                <a:lnTo>
                  <a:pt x="3445" y="1107"/>
                </a:lnTo>
                <a:lnTo>
                  <a:pt x="3446" y="1106"/>
                </a:lnTo>
                <a:lnTo>
                  <a:pt x="3447" y="1105"/>
                </a:lnTo>
                <a:lnTo>
                  <a:pt x="3451" y="1102"/>
                </a:lnTo>
                <a:lnTo>
                  <a:pt x="3452" y="1101"/>
                </a:lnTo>
                <a:lnTo>
                  <a:pt x="3454" y="1100"/>
                </a:lnTo>
                <a:lnTo>
                  <a:pt x="3457" y="1099"/>
                </a:lnTo>
                <a:lnTo>
                  <a:pt x="3459" y="1097"/>
                </a:lnTo>
                <a:lnTo>
                  <a:pt x="3464" y="1095"/>
                </a:lnTo>
                <a:lnTo>
                  <a:pt x="3468" y="1094"/>
                </a:lnTo>
                <a:lnTo>
                  <a:pt x="3470" y="1092"/>
                </a:lnTo>
                <a:lnTo>
                  <a:pt x="3473" y="1091"/>
                </a:lnTo>
                <a:lnTo>
                  <a:pt x="3475" y="1090"/>
                </a:lnTo>
                <a:lnTo>
                  <a:pt x="3477" y="1089"/>
                </a:lnTo>
                <a:lnTo>
                  <a:pt x="3479" y="1088"/>
                </a:lnTo>
                <a:lnTo>
                  <a:pt x="3481" y="1086"/>
                </a:lnTo>
                <a:lnTo>
                  <a:pt x="3483" y="1085"/>
                </a:lnTo>
                <a:lnTo>
                  <a:pt x="3486" y="1084"/>
                </a:lnTo>
                <a:lnTo>
                  <a:pt x="3488" y="1083"/>
                </a:lnTo>
                <a:lnTo>
                  <a:pt x="3491" y="1081"/>
                </a:lnTo>
                <a:lnTo>
                  <a:pt x="3492" y="1080"/>
                </a:lnTo>
                <a:lnTo>
                  <a:pt x="3496" y="1079"/>
                </a:lnTo>
                <a:lnTo>
                  <a:pt x="3498" y="1078"/>
                </a:lnTo>
                <a:lnTo>
                  <a:pt x="3500" y="1077"/>
                </a:lnTo>
                <a:lnTo>
                  <a:pt x="3504" y="1074"/>
                </a:lnTo>
                <a:lnTo>
                  <a:pt x="3506" y="1073"/>
                </a:lnTo>
                <a:lnTo>
                  <a:pt x="3510" y="1073"/>
                </a:lnTo>
                <a:lnTo>
                  <a:pt x="3515" y="1072"/>
                </a:lnTo>
                <a:lnTo>
                  <a:pt x="3517" y="1072"/>
                </a:lnTo>
                <a:lnTo>
                  <a:pt x="3520" y="1072"/>
                </a:lnTo>
                <a:lnTo>
                  <a:pt x="3523" y="1074"/>
                </a:lnTo>
                <a:lnTo>
                  <a:pt x="3525" y="1075"/>
                </a:lnTo>
                <a:lnTo>
                  <a:pt x="3525" y="1077"/>
                </a:lnTo>
                <a:lnTo>
                  <a:pt x="3526" y="1080"/>
                </a:lnTo>
                <a:lnTo>
                  <a:pt x="3527" y="1086"/>
                </a:lnTo>
                <a:lnTo>
                  <a:pt x="3526" y="1097"/>
                </a:lnTo>
                <a:lnTo>
                  <a:pt x="3526" y="1144"/>
                </a:lnTo>
                <a:lnTo>
                  <a:pt x="3526" y="1263"/>
                </a:lnTo>
                <a:lnTo>
                  <a:pt x="3526" y="1301"/>
                </a:lnTo>
                <a:lnTo>
                  <a:pt x="3526" y="1323"/>
                </a:lnTo>
                <a:lnTo>
                  <a:pt x="3527" y="1327"/>
                </a:lnTo>
                <a:lnTo>
                  <a:pt x="3531" y="1329"/>
                </a:lnTo>
                <a:lnTo>
                  <a:pt x="3533" y="1330"/>
                </a:lnTo>
                <a:lnTo>
                  <a:pt x="3538" y="1332"/>
                </a:lnTo>
                <a:lnTo>
                  <a:pt x="3545" y="1334"/>
                </a:lnTo>
                <a:lnTo>
                  <a:pt x="3548" y="1335"/>
                </a:lnTo>
                <a:lnTo>
                  <a:pt x="3549" y="1335"/>
                </a:lnTo>
                <a:lnTo>
                  <a:pt x="3550" y="1337"/>
                </a:lnTo>
                <a:lnTo>
                  <a:pt x="3552" y="1337"/>
                </a:lnTo>
                <a:lnTo>
                  <a:pt x="3554" y="1337"/>
                </a:lnTo>
                <a:lnTo>
                  <a:pt x="3556" y="1338"/>
                </a:lnTo>
                <a:lnTo>
                  <a:pt x="3557" y="1338"/>
                </a:lnTo>
                <a:lnTo>
                  <a:pt x="3562" y="1340"/>
                </a:lnTo>
                <a:lnTo>
                  <a:pt x="3564" y="1343"/>
                </a:lnTo>
                <a:lnTo>
                  <a:pt x="3566" y="1344"/>
                </a:lnTo>
                <a:lnTo>
                  <a:pt x="3567" y="1349"/>
                </a:lnTo>
                <a:lnTo>
                  <a:pt x="3568" y="1352"/>
                </a:lnTo>
                <a:lnTo>
                  <a:pt x="3567" y="1355"/>
                </a:lnTo>
                <a:lnTo>
                  <a:pt x="3567" y="1356"/>
                </a:lnTo>
                <a:lnTo>
                  <a:pt x="3566" y="1359"/>
                </a:lnTo>
                <a:lnTo>
                  <a:pt x="3563" y="1361"/>
                </a:lnTo>
                <a:lnTo>
                  <a:pt x="3562" y="1362"/>
                </a:lnTo>
                <a:lnTo>
                  <a:pt x="3560" y="1362"/>
                </a:lnTo>
                <a:lnTo>
                  <a:pt x="3558" y="1363"/>
                </a:lnTo>
                <a:lnTo>
                  <a:pt x="3554" y="1365"/>
                </a:lnTo>
                <a:lnTo>
                  <a:pt x="3548" y="1365"/>
                </a:lnTo>
                <a:lnTo>
                  <a:pt x="3535" y="1365"/>
                </a:lnTo>
                <a:lnTo>
                  <a:pt x="3486" y="1365"/>
                </a:lnTo>
                <a:close/>
                <a:moveTo>
                  <a:pt x="3228" y="1084"/>
                </a:moveTo>
                <a:lnTo>
                  <a:pt x="3231" y="1118"/>
                </a:lnTo>
                <a:lnTo>
                  <a:pt x="3231" y="1124"/>
                </a:lnTo>
                <a:lnTo>
                  <a:pt x="3232" y="1130"/>
                </a:lnTo>
                <a:lnTo>
                  <a:pt x="3233" y="1140"/>
                </a:lnTo>
                <a:lnTo>
                  <a:pt x="3232" y="1143"/>
                </a:lnTo>
                <a:lnTo>
                  <a:pt x="3232" y="1144"/>
                </a:lnTo>
                <a:lnTo>
                  <a:pt x="3231" y="1146"/>
                </a:lnTo>
                <a:lnTo>
                  <a:pt x="3228" y="1149"/>
                </a:lnTo>
                <a:lnTo>
                  <a:pt x="3226" y="1150"/>
                </a:lnTo>
                <a:lnTo>
                  <a:pt x="3221" y="1151"/>
                </a:lnTo>
                <a:lnTo>
                  <a:pt x="3220" y="1152"/>
                </a:lnTo>
                <a:lnTo>
                  <a:pt x="3218" y="1152"/>
                </a:lnTo>
                <a:lnTo>
                  <a:pt x="3214" y="1151"/>
                </a:lnTo>
                <a:lnTo>
                  <a:pt x="3210" y="1150"/>
                </a:lnTo>
                <a:lnTo>
                  <a:pt x="3208" y="1149"/>
                </a:lnTo>
                <a:lnTo>
                  <a:pt x="3207" y="1147"/>
                </a:lnTo>
                <a:lnTo>
                  <a:pt x="3204" y="1145"/>
                </a:lnTo>
                <a:lnTo>
                  <a:pt x="3203" y="1144"/>
                </a:lnTo>
                <a:lnTo>
                  <a:pt x="3202" y="1141"/>
                </a:lnTo>
                <a:lnTo>
                  <a:pt x="3199" y="1134"/>
                </a:lnTo>
                <a:lnTo>
                  <a:pt x="3198" y="1130"/>
                </a:lnTo>
                <a:lnTo>
                  <a:pt x="3197" y="1129"/>
                </a:lnTo>
                <a:lnTo>
                  <a:pt x="3196" y="1124"/>
                </a:lnTo>
                <a:lnTo>
                  <a:pt x="3195" y="1121"/>
                </a:lnTo>
                <a:lnTo>
                  <a:pt x="3193" y="1118"/>
                </a:lnTo>
                <a:lnTo>
                  <a:pt x="3192" y="1116"/>
                </a:lnTo>
                <a:lnTo>
                  <a:pt x="3190" y="1111"/>
                </a:lnTo>
                <a:lnTo>
                  <a:pt x="3189" y="1110"/>
                </a:lnTo>
                <a:lnTo>
                  <a:pt x="3186" y="1107"/>
                </a:lnTo>
                <a:lnTo>
                  <a:pt x="3184" y="1105"/>
                </a:lnTo>
                <a:lnTo>
                  <a:pt x="3179" y="1102"/>
                </a:lnTo>
                <a:lnTo>
                  <a:pt x="3174" y="1101"/>
                </a:lnTo>
                <a:lnTo>
                  <a:pt x="3169" y="1101"/>
                </a:lnTo>
                <a:lnTo>
                  <a:pt x="3164" y="1100"/>
                </a:lnTo>
                <a:lnTo>
                  <a:pt x="3160" y="1101"/>
                </a:lnTo>
                <a:lnTo>
                  <a:pt x="3155" y="1102"/>
                </a:lnTo>
                <a:lnTo>
                  <a:pt x="3152" y="1102"/>
                </a:lnTo>
                <a:lnTo>
                  <a:pt x="3149" y="1102"/>
                </a:lnTo>
                <a:lnTo>
                  <a:pt x="3143" y="1106"/>
                </a:lnTo>
                <a:lnTo>
                  <a:pt x="3139" y="1107"/>
                </a:lnTo>
                <a:lnTo>
                  <a:pt x="3138" y="1108"/>
                </a:lnTo>
                <a:lnTo>
                  <a:pt x="3135" y="1111"/>
                </a:lnTo>
                <a:lnTo>
                  <a:pt x="3131" y="1116"/>
                </a:lnTo>
                <a:lnTo>
                  <a:pt x="3129" y="1117"/>
                </a:lnTo>
                <a:lnTo>
                  <a:pt x="3128" y="1118"/>
                </a:lnTo>
                <a:lnTo>
                  <a:pt x="3127" y="1119"/>
                </a:lnTo>
                <a:lnTo>
                  <a:pt x="3126" y="1122"/>
                </a:lnTo>
                <a:lnTo>
                  <a:pt x="3124" y="1125"/>
                </a:lnTo>
                <a:lnTo>
                  <a:pt x="3124" y="1127"/>
                </a:lnTo>
                <a:lnTo>
                  <a:pt x="3121" y="1139"/>
                </a:lnTo>
                <a:lnTo>
                  <a:pt x="3121" y="1143"/>
                </a:lnTo>
                <a:lnTo>
                  <a:pt x="3121" y="1149"/>
                </a:lnTo>
                <a:lnTo>
                  <a:pt x="3123" y="1157"/>
                </a:lnTo>
                <a:lnTo>
                  <a:pt x="3124" y="1160"/>
                </a:lnTo>
                <a:lnTo>
                  <a:pt x="3126" y="1161"/>
                </a:lnTo>
                <a:lnTo>
                  <a:pt x="3127" y="1163"/>
                </a:lnTo>
                <a:lnTo>
                  <a:pt x="3129" y="1166"/>
                </a:lnTo>
                <a:lnTo>
                  <a:pt x="3132" y="1169"/>
                </a:lnTo>
                <a:lnTo>
                  <a:pt x="3137" y="1174"/>
                </a:lnTo>
                <a:lnTo>
                  <a:pt x="3139" y="1177"/>
                </a:lnTo>
                <a:lnTo>
                  <a:pt x="3141" y="1178"/>
                </a:lnTo>
                <a:lnTo>
                  <a:pt x="3144" y="1179"/>
                </a:lnTo>
                <a:lnTo>
                  <a:pt x="3145" y="1180"/>
                </a:lnTo>
                <a:lnTo>
                  <a:pt x="3146" y="1182"/>
                </a:lnTo>
                <a:lnTo>
                  <a:pt x="3149" y="1183"/>
                </a:lnTo>
                <a:lnTo>
                  <a:pt x="3151" y="1184"/>
                </a:lnTo>
                <a:lnTo>
                  <a:pt x="3154" y="1185"/>
                </a:lnTo>
                <a:lnTo>
                  <a:pt x="3157" y="1188"/>
                </a:lnTo>
                <a:lnTo>
                  <a:pt x="3161" y="1190"/>
                </a:lnTo>
                <a:lnTo>
                  <a:pt x="3164" y="1191"/>
                </a:lnTo>
                <a:lnTo>
                  <a:pt x="3167" y="1193"/>
                </a:lnTo>
                <a:lnTo>
                  <a:pt x="3169" y="1194"/>
                </a:lnTo>
                <a:lnTo>
                  <a:pt x="3170" y="1196"/>
                </a:lnTo>
                <a:lnTo>
                  <a:pt x="3173" y="1196"/>
                </a:lnTo>
                <a:lnTo>
                  <a:pt x="3175" y="1197"/>
                </a:lnTo>
                <a:lnTo>
                  <a:pt x="3176" y="1200"/>
                </a:lnTo>
                <a:lnTo>
                  <a:pt x="3179" y="1200"/>
                </a:lnTo>
                <a:lnTo>
                  <a:pt x="3181" y="1201"/>
                </a:lnTo>
                <a:lnTo>
                  <a:pt x="3184" y="1202"/>
                </a:lnTo>
                <a:lnTo>
                  <a:pt x="3186" y="1204"/>
                </a:lnTo>
                <a:lnTo>
                  <a:pt x="3187" y="1205"/>
                </a:lnTo>
                <a:lnTo>
                  <a:pt x="3190" y="1206"/>
                </a:lnTo>
                <a:lnTo>
                  <a:pt x="3193" y="1208"/>
                </a:lnTo>
                <a:lnTo>
                  <a:pt x="3196" y="1210"/>
                </a:lnTo>
                <a:lnTo>
                  <a:pt x="3198" y="1211"/>
                </a:lnTo>
                <a:lnTo>
                  <a:pt x="3202" y="1213"/>
                </a:lnTo>
                <a:lnTo>
                  <a:pt x="3203" y="1215"/>
                </a:lnTo>
                <a:lnTo>
                  <a:pt x="3204" y="1216"/>
                </a:lnTo>
                <a:lnTo>
                  <a:pt x="3207" y="1217"/>
                </a:lnTo>
                <a:lnTo>
                  <a:pt x="3208" y="1218"/>
                </a:lnTo>
                <a:lnTo>
                  <a:pt x="3209" y="1219"/>
                </a:lnTo>
                <a:lnTo>
                  <a:pt x="3212" y="1221"/>
                </a:lnTo>
                <a:lnTo>
                  <a:pt x="3213" y="1221"/>
                </a:lnTo>
                <a:lnTo>
                  <a:pt x="3214" y="1223"/>
                </a:lnTo>
                <a:lnTo>
                  <a:pt x="3218" y="1225"/>
                </a:lnTo>
                <a:lnTo>
                  <a:pt x="3227" y="1235"/>
                </a:lnTo>
                <a:lnTo>
                  <a:pt x="3231" y="1238"/>
                </a:lnTo>
                <a:lnTo>
                  <a:pt x="3232" y="1240"/>
                </a:lnTo>
                <a:lnTo>
                  <a:pt x="3234" y="1243"/>
                </a:lnTo>
                <a:lnTo>
                  <a:pt x="3236" y="1245"/>
                </a:lnTo>
                <a:lnTo>
                  <a:pt x="3237" y="1246"/>
                </a:lnTo>
                <a:lnTo>
                  <a:pt x="3237" y="1249"/>
                </a:lnTo>
                <a:lnTo>
                  <a:pt x="3239" y="1251"/>
                </a:lnTo>
                <a:lnTo>
                  <a:pt x="3241" y="1254"/>
                </a:lnTo>
                <a:lnTo>
                  <a:pt x="3241" y="1256"/>
                </a:lnTo>
                <a:lnTo>
                  <a:pt x="3243" y="1260"/>
                </a:lnTo>
                <a:lnTo>
                  <a:pt x="3243" y="1262"/>
                </a:lnTo>
                <a:lnTo>
                  <a:pt x="3244" y="1263"/>
                </a:lnTo>
                <a:lnTo>
                  <a:pt x="3244" y="1266"/>
                </a:lnTo>
                <a:lnTo>
                  <a:pt x="3245" y="1274"/>
                </a:lnTo>
                <a:lnTo>
                  <a:pt x="3247" y="1283"/>
                </a:lnTo>
                <a:lnTo>
                  <a:pt x="3245" y="1288"/>
                </a:lnTo>
                <a:lnTo>
                  <a:pt x="3245" y="1293"/>
                </a:lnTo>
                <a:lnTo>
                  <a:pt x="3244" y="1296"/>
                </a:lnTo>
                <a:lnTo>
                  <a:pt x="3244" y="1300"/>
                </a:lnTo>
                <a:lnTo>
                  <a:pt x="3243" y="1305"/>
                </a:lnTo>
                <a:lnTo>
                  <a:pt x="3239" y="1315"/>
                </a:lnTo>
                <a:lnTo>
                  <a:pt x="3234" y="1323"/>
                </a:lnTo>
                <a:lnTo>
                  <a:pt x="3230" y="1332"/>
                </a:lnTo>
                <a:lnTo>
                  <a:pt x="3226" y="1335"/>
                </a:lnTo>
                <a:lnTo>
                  <a:pt x="3224" y="1339"/>
                </a:lnTo>
                <a:lnTo>
                  <a:pt x="3216" y="1346"/>
                </a:lnTo>
                <a:lnTo>
                  <a:pt x="3209" y="1352"/>
                </a:lnTo>
                <a:lnTo>
                  <a:pt x="3201" y="1357"/>
                </a:lnTo>
                <a:lnTo>
                  <a:pt x="3191" y="1362"/>
                </a:lnTo>
                <a:lnTo>
                  <a:pt x="3173" y="1367"/>
                </a:lnTo>
                <a:lnTo>
                  <a:pt x="3164" y="1367"/>
                </a:lnTo>
                <a:lnTo>
                  <a:pt x="3145" y="1368"/>
                </a:lnTo>
                <a:lnTo>
                  <a:pt x="3132" y="1368"/>
                </a:lnTo>
                <a:lnTo>
                  <a:pt x="3118" y="1366"/>
                </a:lnTo>
                <a:lnTo>
                  <a:pt x="3108" y="1365"/>
                </a:lnTo>
                <a:lnTo>
                  <a:pt x="3097" y="1361"/>
                </a:lnTo>
                <a:lnTo>
                  <a:pt x="3094" y="1361"/>
                </a:lnTo>
                <a:lnTo>
                  <a:pt x="3092" y="1360"/>
                </a:lnTo>
                <a:lnTo>
                  <a:pt x="3088" y="1359"/>
                </a:lnTo>
                <a:lnTo>
                  <a:pt x="3086" y="1356"/>
                </a:lnTo>
                <a:lnTo>
                  <a:pt x="3083" y="1355"/>
                </a:lnTo>
                <a:lnTo>
                  <a:pt x="3081" y="1354"/>
                </a:lnTo>
                <a:lnTo>
                  <a:pt x="3081" y="1350"/>
                </a:lnTo>
                <a:lnTo>
                  <a:pt x="3080" y="1349"/>
                </a:lnTo>
                <a:lnTo>
                  <a:pt x="3080" y="1348"/>
                </a:lnTo>
                <a:lnTo>
                  <a:pt x="3080" y="1344"/>
                </a:lnTo>
                <a:lnTo>
                  <a:pt x="3080" y="1338"/>
                </a:lnTo>
                <a:lnTo>
                  <a:pt x="3079" y="1332"/>
                </a:lnTo>
                <a:lnTo>
                  <a:pt x="3079" y="1326"/>
                </a:lnTo>
                <a:lnTo>
                  <a:pt x="3077" y="1319"/>
                </a:lnTo>
                <a:lnTo>
                  <a:pt x="3077" y="1312"/>
                </a:lnTo>
                <a:lnTo>
                  <a:pt x="3076" y="1307"/>
                </a:lnTo>
                <a:lnTo>
                  <a:pt x="3076" y="1301"/>
                </a:lnTo>
                <a:lnTo>
                  <a:pt x="3075" y="1283"/>
                </a:lnTo>
                <a:lnTo>
                  <a:pt x="3075" y="1282"/>
                </a:lnTo>
                <a:lnTo>
                  <a:pt x="3076" y="1279"/>
                </a:lnTo>
                <a:lnTo>
                  <a:pt x="3077" y="1278"/>
                </a:lnTo>
                <a:lnTo>
                  <a:pt x="3079" y="1276"/>
                </a:lnTo>
                <a:lnTo>
                  <a:pt x="3080" y="1274"/>
                </a:lnTo>
                <a:lnTo>
                  <a:pt x="3082" y="1273"/>
                </a:lnTo>
                <a:lnTo>
                  <a:pt x="3086" y="1272"/>
                </a:lnTo>
                <a:lnTo>
                  <a:pt x="3091" y="1271"/>
                </a:lnTo>
                <a:lnTo>
                  <a:pt x="3094" y="1271"/>
                </a:lnTo>
                <a:lnTo>
                  <a:pt x="3097" y="1272"/>
                </a:lnTo>
                <a:lnTo>
                  <a:pt x="3099" y="1273"/>
                </a:lnTo>
                <a:lnTo>
                  <a:pt x="3102" y="1277"/>
                </a:lnTo>
                <a:lnTo>
                  <a:pt x="3104" y="1278"/>
                </a:lnTo>
                <a:lnTo>
                  <a:pt x="3104" y="1280"/>
                </a:lnTo>
                <a:lnTo>
                  <a:pt x="3105" y="1283"/>
                </a:lnTo>
                <a:lnTo>
                  <a:pt x="3108" y="1287"/>
                </a:lnTo>
                <a:lnTo>
                  <a:pt x="3108" y="1288"/>
                </a:lnTo>
                <a:lnTo>
                  <a:pt x="3109" y="1291"/>
                </a:lnTo>
                <a:lnTo>
                  <a:pt x="3111" y="1295"/>
                </a:lnTo>
                <a:lnTo>
                  <a:pt x="3112" y="1299"/>
                </a:lnTo>
                <a:lnTo>
                  <a:pt x="3114" y="1301"/>
                </a:lnTo>
                <a:lnTo>
                  <a:pt x="3115" y="1305"/>
                </a:lnTo>
                <a:lnTo>
                  <a:pt x="3115" y="1307"/>
                </a:lnTo>
                <a:lnTo>
                  <a:pt x="3116" y="1310"/>
                </a:lnTo>
                <a:lnTo>
                  <a:pt x="3117" y="1313"/>
                </a:lnTo>
                <a:lnTo>
                  <a:pt x="3120" y="1317"/>
                </a:lnTo>
                <a:lnTo>
                  <a:pt x="3120" y="1319"/>
                </a:lnTo>
                <a:lnTo>
                  <a:pt x="3121" y="1322"/>
                </a:lnTo>
                <a:lnTo>
                  <a:pt x="3122" y="1324"/>
                </a:lnTo>
                <a:lnTo>
                  <a:pt x="3123" y="1328"/>
                </a:lnTo>
                <a:lnTo>
                  <a:pt x="3128" y="1332"/>
                </a:lnTo>
                <a:lnTo>
                  <a:pt x="3129" y="1333"/>
                </a:lnTo>
                <a:lnTo>
                  <a:pt x="3132" y="1334"/>
                </a:lnTo>
                <a:lnTo>
                  <a:pt x="3133" y="1335"/>
                </a:lnTo>
                <a:lnTo>
                  <a:pt x="3144" y="1339"/>
                </a:lnTo>
                <a:lnTo>
                  <a:pt x="3147" y="1339"/>
                </a:lnTo>
                <a:lnTo>
                  <a:pt x="3151" y="1339"/>
                </a:lnTo>
                <a:lnTo>
                  <a:pt x="3156" y="1339"/>
                </a:lnTo>
                <a:lnTo>
                  <a:pt x="3164" y="1338"/>
                </a:lnTo>
                <a:lnTo>
                  <a:pt x="3174" y="1335"/>
                </a:lnTo>
                <a:lnTo>
                  <a:pt x="3178" y="1334"/>
                </a:lnTo>
                <a:lnTo>
                  <a:pt x="3181" y="1332"/>
                </a:lnTo>
                <a:lnTo>
                  <a:pt x="3183" y="1330"/>
                </a:lnTo>
                <a:lnTo>
                  <a:pt x="3185" y="1329"/>
                </a:lnTo>
                <a:lnTo>
                  <a:pt x="3186" y="1328"/>
                </a:lnTo>
                <a:lnTo>
                  <a:pt x="3191" y="1323"/>
                </a:lnTo>
                <a:lnTo>
                  <a:pt x="3193" y="1322"/>
                </a:lnTo>
                <a:lnTo>
                  <a:pt x="3195" y="1319"/>
                </a:lnTo>
                <a:lnTo>
                  <a:pt x="3196" y="1317"/>
                </a:lnTo>
                <a:lnTo>
                  <a:pt x="3197" y="1315"/>
                </a:lnTo>
                <a:lnTo>
                  <a:pt x="3198" y="1313"/>
                </a:lnTo>
                <a:lnTo>
                  <a:pt x="3199" y="1311"/>
                </a:lnTo>
                <a:lnTo>
                  <a:pt x="3199" y="1308"/>
                </a:lnTo>
                <a:lnTo>
                  <a:pt x="3202" y="1304"/>
                </a:lnTo>
                <a:lnTo>
                  <a:pt x="3203" y="1296"/>
                </a:lnTo>
                <a:lnTo>
                  <a:pt x="3204" y="1288"/>
                </a:lnTo>
                <a:lnTo>
                  <a:pt x="3203" y="1285"/>
                </a:lnTo>
                <a:lnTo>
                  <a:pt x="3203" y="1282"/>
                </a:lnTo>
                <a:lnTo>
                  <a:pt x="3203" y="1279"/>
                </a:lnTo>
                <a:lnTo>
                  <a:pt x="3201" y="1272"/>
                </a:lnTo>
                <a:lnTo>
                  <a:pt x="3196" y="1266"/>
                </a:lnTo>
                <a:lnTo>
                  <a:pt x="3192" y="1261"/>
                </a:lnTo>
                <a:lnTo>
                  <a:pt x="3186" y="1255"/>
                </a:lnTo>
                <a:lnTo>
                  <a:pt x="3175" y="1246"/>
                </a:lnTo>
                <a:lnTo>
                  <a:pt x="3163" y="1239"/>
                </a:lnTo>
                <a:lnTo>
                  <a:pt x="3161" y="1238"/>
                </a:lnTo>
                <a:lnTo>
                  <a:pt x="3158" y="1236"/>
                </a:lnTo>
                <a:lnTo>
                  <a:pt x="3157" y="1235"/>
                </a:lnTo>
                <a:lnTo>
                  <a:pt x="3155" y="1234"/>
                </a:lnTo>
                <a:lnTo>
                  <a:pt x="3152" y="1234"/>
                </a:lnTo>
                <a:lnTo>
                  <a:pt x="3150" y="1233"/>
                </a:lnTo>
                <a:lnTo>
                  <a:pt x="3147" y="1232"/>
                </a:lnTo>
                <a:lnTo>
                  <a:pt x="3145" y="1230"/>
                </a:lnTo>
                <a:lnTo>
                  <a:pt x="3144" y="1229"/>
                </a:lnTo>
                <a:lnTo>
                  <a:pt x="3141" y="1228"/>
                </a:lnTo>
                <a:lnTo>
                  <a:pt x="3140" y="1225"/>
                </a:lnTo>
                <a:lnTo>
                  <a:pt x="3137" y="1224"/>
                </a:lnTo>
                <a:lnTo>
                  <a:pt x="3132" y="1222"/>
                </a:lnTo>
                <a:lnTo>
                  <a:pt x="3129" y="1221"/>
                </a:lnTo>
                <a:lnTo>
                  <a:pt x="3127" y="1219"/>
                </a:lnTo>
                <a:lnTo>
                  <a:pt x="3124" y="1218"/>
                </a:lnTo>
                <a:lnTo>
                  <a:pt x="3123" y="1217"/>
                </a:lnTo>
                <a:lnTo>
                  <a:pt x="3121" y="1216"/>
                </a:lnTo>
                <a:lnTo>
                  <a:pt x="3120" y="1215"/>
                </a:lnTo>
                <a:lnTo>
                  <a:pt x="3117" y="1213"/>
                </a:lnTo>
                <a:lnTo>
                  <a:pt x="3116" y="1212"/>
                </a:lnTo>
                <a:lnTo>
                  <a:pt x="3115" y="1211"/>
                </a:lnTo>
                <a:lnTo>
                  <a:pt x="3112" y="1208"/>
                </a:lnTo>
                <a:lnTo>
                  <a:pt x="3110" y="1206"/>
                </a:lnTo>
                <a:lnTo>
                  <a:pt x="3102" y="1200"/>
                </a:lnTo>
                <a:lnTo>
                  <a:pt x="3098" y="1196"/>
                </a:lnTo>
                <a:lnTo>
                  <a:pt x="3094" y="1191"/>
                </a:lnTo>
                <a:lnTo>
                  <a:pt x="3091" y="1188"/>
                </a:lnTo>
                <a:lnTo>
                  <a:pt x="3088" y="1183"/>
                </a:lnTo>
                <a:lnTo>
                  <a:pt x="3083" y="1173"/>
                </a:lnTo>
                <a:lnTo>
                  <a:pt x="3083" y="1171"/>
                </a:lnTo>
                <a:lnTo>
                  <a:pt x="3082" y="1169"/>
                </a:lnTo>
                <a:lnTo>
                  <a:pt x="3082" y="1167"/>
                </a:lnTo>
                <a:lnTo>
                  <a:pt x="3081" y="1166"/>
                </a:lnTo>
                <a:lnTo>
                  <a:pt x="3081" y="1162"/>
                </a:lnTo>
                <a:lnTo>
                  <a:pt x="3080" y="1161"/>
                </a:lnTo>
                <a:lnTo>
                  <a:pt x="3080" y="1156"/>
                </a:lnTo>
                <a:lnTo>
                  <a:pt x="3079" y="1150"/>
                </a:lnTo>
                <a:lnTo>
                  <a:pt x="3079" y="1143"/>
                </a:lnTo>
                <a:lnTo>
                  <a:pt x="3079" y="1135"/>
                </a:lnTo>
                <a:lnTo>
                  <a:pt x="3080" y="1132"/>
                </a:lnTo>
                <a:lnTo>
                  <a:pt x="3080" y="1129"/>
                </a:lnTo>
                <a:lnTo>
                  <a:pt x="3081" y="1127"/>
                </a:lnTo>
                <a:lnTo>
                  <a:pt x="3081" y="1124"/>
                </a:lnTo>
                <a:lnTo>
                  <a:pt x="3082" y="1123"/>
                </a:lnTo>
                <a:lnTo>
                  <a:pt x="3083" y="1119"/>
                </a:lnTo>
                <a:lnTo>
                  <a:pt x="3085" y="1117"/>
                </a:lnTo>
                <a:lnTo>
                  <a:pt x="3086" y="1114"/>
                </a:lnTo>
                <a:lnTo>
                  <a:pt x="3086" y="1112"/>
                </a:lnTo>
                <a:lnTo>
                  <a:pt x="3088" y="1108"/>
                </a:lnTo>
                <a:lnTo>
                  <a:pt x="3089" y="1107"/>
                </a:lnTo>
                <a:lnTo>
                  <a:pt x="3091" y="1105"/>
                </a:lnTo>
                <a:lnTo>
                  <a:pt x="3092" y="1103"/>
                </a:lnTo>
                <a:lnTo>
                  <a:pt x="3097" y="1100"/>
                </a:lnTo>
                <a:lnTo>
                  <a:pt x="3098" y="1096"/>
                </a:lnTo>
                <a:lnTo>
                  <a:pt x="3103" y="1092"/>
                </a:lnTo>
                <a:lnTo>
                  <a:pt x="3105" y="1090"/>
                </a:lnTo>
                <a:lnTo>
                  <a:pt x="3108" y="1089"/>
                </a:lnTo>
                <a:lnTo>
                  <a:pt x="3109" y="1088"/>
                </a:lnTo>
                <a:lnTo>
                  <a:pt x="3111" y="1088"/>
                </a:lnTo>
                <a:lnTo>
                  <a:pt x="3114" y="1086"/>
                </a:lnTo>
                <a:lnTo>
                  <a:pt x="3115" y="1085"/>
                </a:lnTo>
                <a:lnTo>
                  <a:pt x="3117" y="1084"/>
                </a:lnTo>
                <a:lnTo>
                  <a:pt x="3122" y="1081"/>
                </a:lnTo>
                <a:lnTo>
                  <a:pt x="3124" y="1080"/>
                </a:lnTo>
                <a:lnTo>
                  <a:pt x="3129" y="1079"/>
                </a:lnTo>
                <a:lnTo>
                  <a:pt x="3131" y="1078"/>
                </a:lnTo>
                <a:lnTo>
                  <a:pt x="3132" y="1078"/>
                </a:lnTo>
                <a:lnTo>
                  <a:pt x="3134" y="1077"/>
                </a:lnTo>
                <a:lnTo>
                  <a:pt x="3135" y="1077"/>
                </a:lnTo>
                <a:lnTo>
                  <a:pt x="3138" y="1075"/>
                </a:lnTo>
                <a:lnTo>
                  <a:pt x="3145" y="1074"/>
                </a:lnTo>
                <a:lnTo>
                  <a:pt x="3150" y="1073"/>
                </a:lnTo>
                <a:lnTo>
                  <a:pt x="3154" y="1073"/>
                </a:lnTo>
                <a:lnTo>
                  <a:pt x="3158" y="1073"/>
                </a:lnTo>
                <a:lnTo>
                  <a:pt x="3164" y="1072"/>
                </a:lnTo>
                <a:lnTo>
                  <a:pt x="3173" y="1072"/>
                </a:lnTo>
                <a:lnTo>
                  <a:pt x="3180" y="1073"/>
                </a:lnTo>
                <a:lnTo>
                  <a:pt x="3185" y="1073"/>
                </a:lnTo>
                <a:lnTo>
                  <a:pt x="3208" y="1077"/>
                </a:lnTo>
                <a:lnTo>
                  <a:pt x="3228" y="1084"/>
                </a:lnTo>
                <a:close/>
                <a:moveTo>
                  <a:pt x="2581" y="1072"/>
                </a:moveTo>
                <a:lnTo>
                  <a:pt x="2601" y="1072"/>
                </a:lnTo>
                <a:lnTo>
                  <a:pt x="2610" y="1073"/>
                </a:lnTo>
                <a:lnTo>
                  <a:pt x="2618" y="1075"/>
                </a:lnTo>
                <a:lnTo>
                  <a:pt x="2620" y="1075"/>
                </a:lnTo>
                <a:lnTo>
                  <a:pt x="2622" y="1077"/>
                </a:lnTo>
                <a:lnTo>
                  <a:pt x="2627" y="1078"/>
                </a:lnTo>
                <a:lnTo>
                  <a:pt x="2629" y="1079"/>
                </a:lnTo>
                <a:lnTo>
                  <a:pt x="2631" y="1080"/>
                </a:lnTo>
                <a:lnTo>
                  <a:pt x="2635" y="1081"/>
                </a:lnTo>
                <a:lnTo>
                  <a:pt x="2637" y="1084"/>
                </a:lnTo>
                <a:lnTo>
                  <a:pt x="2642" y="1086"/>
                </a:lnTo>
                <a:lnTo>
                  <a:pt x="2643" y="1088"/>
                </a:lnTo>
                <a:lnTo>
                  <a:pt x="2646" y="1088"/>
                </a:lnTo>
                <a:lnTo>
                  <a:pt x="2647" y="1089"/>
                </a:lnTo>
                <a:lnTo>
                  <a:pt x="2649" y="1090"/>
                </a:lnTo>
                <a:lnTo>
                  <a:pt x="2651" y="1092"/>
                </a:lnTo>
                <a:lnTo>
                  <a:pt x="2653" y="1095"/>
                </a:lnTo>
                <a:lnTo>
                  <a:pt x="2660" y="1100"/>
                </a:lnTo>
                <a:lnTo>
                  <a:pt x="2666" y="1106"/>
                </a:lnTo>
                <a:lnTo>
                  <a:pt x="2672" y="1113"/>
                </a:lnTo>
                <a:lnTo>
                  <a:pt x="2677" y="1121"/>
                </a:lnTo>
                <a:lnTo>
                  <a:pt x="2682" y="1128"/>
                </a:lnTo>
                <a:lnTo>
                  <a:pt x="2687" y="1136"/>
                </a:lnTo>
                <a:lnTo>
                  <a:pt x="2691" y="1145"/>
                </a:lnTo>
                <a:lnTo>
                  <a:pt x="2694" y="1153"/>
                </a:lnTo>
                <a:lnTo>
                  <a:pt x="2695" y="1158"/>
                </a:lnTo>
                <a:lnTo>
                  <a:pt x="2697" y="1161"/>
                </a:lnTo>
                <a:lnTo>
                  <a:pt x="2697" y="1162"/>
                </a:lnTo>
                <a:lnTo>
                  <a:pt x="2698" y="1163"/>
                </a:lnTo>
                <a:lnTo>
                  <a:pt x="2698" y="1166"/>
                </a:lnTo>
                <a:lnTo>
                  <a:pt x="2700" y="1172"/>
                </a:lnTo>
                <a:lnTo>
                  <a:pt x="2700" y="1174"/>
                </a:lnTo>
                <a:lnTo>
                  <a:pt x="2703" y="1183"/>
                </a:lnTo>
                <a:lnTo>
                  <a:pt x="2704" y="1190"/>
                </a:lnTo>
                <a:lnTo>
                  <a:pt x="2705" y="1199"/>
                </a:lnTo>
                <a:lnTo>
                  <a:pt x="2705" y="1208"/>
                </a:lnTo>
                <a:lnTo>
                  <a:pt x="2706" y="1217"/>
                </a:lnTo>
                <a:lnTo>
                  <a:pt x="2706" y="1225"/>
                </a:lnTo>
                <a:lnTo>
                  <a:pt x="2706" y="1229"/>
                </a:lnTo>
                <a:lnTo>
                  <a:pt x="2705" y="1233"/>
                </a:lnTo>
                <a:lnTo>
                  <a:pt x="2705" y="1246"/>
                </a:lnTo>
                <a:lnTo>
                  <a:pt x="2704" y="1250"/>
                </a:lnTo>
                <a:lnTo>
                  <a:pt x="2704" y="1255"/>
                </a:lnTo>
                <a:lnTo>
                  <a:pt x="2703" y="1258"/>
                </a:lnTo>
                <a:lnTo>
                  <a:pt x="2701" y="1267"/>
                </a:lnTo>
                <a:lnTo>
                  <a:pt x="2700" y="1272"/>
                </a:lnTo>
                <a:lnTo>
                  <a:pt x="2699" y="1276"/>
                </a:lnTo>
                <a:lnTo>
                  <a:pt x="2698" y="1278"/>
                </a:lnTo>
                <a:lnTo>
                  <a:pt x="2698" y="1279"/>
                </a:lnTo>
                <a:lnTo>
                  <a:pt x="2697" y="1282"/>
                </a:lnTo>
                <a:lnTo>
                  <a:pt x="2697" y="1283"/>
                </a:lnTo>
                <a:lnTo>
                  <a:pt x="2695" y="1285"/>
                </a:lnTo>
                <a:lnTo>
                  <a:pt x="2695" y="1287"/>
                </a:lnTo>
                <a:lnTo>
                  <a:pt x="2694" y="1290"/>
                </a:lnTo>
                <a:lnTo>
                  <a:pt x="2693" y="1293"/>
                </a:lnTo>
                <a:lnTo>
                  <a:pt x="2692" y="1295"/>
                </a:lnTo>
                <a:lnTo>
                  <a:pt x="2691" y="1299"/>
                </a:lnTo>
                <a:lnTo>
                  <a:pt x="2688" y="1304"/>
                </a:lnTo>
                <a:lnTo>
                  <a:pt x="2687" y="1305"/>
                </a:lnTo>
                <a:lnTo>
                  <a:pt x="2686" y="1307"/>
                </a:lnTo>
                <a:lnTo>
                  <a:pt x="2685" y="1310"/>
                </a:lnTo>
                <a:lnTo>
                  <a:pt x="2683" y="1312"/>
                </a:lnTo>
                <a:lnTo>
                  <a:pt x="2681" y="1316"/>
                </a:lnTo>
                <a:lnTo>
                  <a:pt x="2680" y="1317"/>
                </a:lnTo>
                <a:lnTo>
                  <a:pt x="2680" y="1319"/>
                </a:lnTo>
                <a:lnTo>
                  <a:pt x="2677" y="1321"/>
                </a:lnTo>
                <a:lnTo>
                  <a:pt x="2676" y="1322"/>
                </a:lnTo>
                <a:lnTo>
                  <a:pt x="2674" y="1324"/>
                </a:lnTo>
                <a:lnTo>
                  <a:pt x="2671" y="1328"/>
                </a:lnTo>
                <a:lnTo>
                  <a:pt x="2665" y="1334"/>
                </a:lnTo>
                <a:lnTo>
                  <a:pt x="2664" y="1337"/>
                </a:lnTo>
                <a:lnTo>
                  <a:pt x="2658" y="1343"/>
                </a:lnTo>
                <a:lnTo>
                  <a:pt x="2654" y="1345"/>
                </a:lnTo>
                <a:lnTo>
                  <a:pt x="2652" y="1348"/>
                </a:lnTo>
                <a:lnTo>
                  <a:pt x="2651" y="1349"/>
                </a:lnTo>
                <a:lnTo>
                  <a:pt x="2648" y="1350"/>
                </a:lnTo>
                <a:lnTo>
                  <a:pt x="2647" y="1351"/>
                </a:lnTo>
                <a:lnTo>
                  <a:pt x="2631" y="1360"/>
                </a:lnTo>
                <a:lnTo>
                  <a:pt x="2629" y="1360"/>
                </a:lnTo>
                <a:lnTo>
                  <a:pt x="2625" y="1362"/>
                </a:lnTo>
                <a:lnTo>
                  <a:pt x="2623" y="1362"/>
                </a:lnTo>
                <a:lnTo>
                  <a:pt x="2622" y="1363"/>
                </a:lnTo>
                <a:lnTo>
                  <a:pt x="2620" y="1363"/>
                </a:lnTo>
                <a:lnTo>
                  <a:pt x="2618" y="1365"/>
                </a:lnTo>
                <a:lnTo>
                  <a:pt x="2616" y="1365"/>
                </a:lnTo>
                <a:lnTo>
                  <a:pt x="2611" y="1366"/>
                </a:lnTo>
                <a:lnTo>
                  <a:pt x="2608" y="1366"/>
                </a:lnTo>
                <a:lnTo>
                  <a:pt x="2606" y="1367"/>
                </a:lnTo>
                <a:lnTo>
                  <a:pt x="2601" y="1367"/>
                </a:lnTo>
                <a:lnTo>
                  <a:pt x="2581" y="1368"/>
                </a:lnTo>
                <a:lnTo>
                  <a:pt x="2568" y="1366"/>
                </a:lnTo>
                <a:lnTo>
                  <a:pt x="2564" y="1366"/>
                </a:lnTo>
                <a:lnTo>
                  <a:pt x="2561" y="1365"/>
                </a:lnTo>
                <a:lnTo>
                  <a:pt x="2559" y="1365"/>
                </a:lnTo>
                <a:lnTo>
                  <a:pt x="2558" y="1363"/>
                </a:lnTo>
                <a:lnTo>
                  <a:pt x="2553" y="1362"/>
                </a:lnTo>
                <a:lnTo>
                  <a:pt x="2549" y="1361"/>
                </a:lnTo>
                <a:lnTo>
                  <a:pt x="2544" y="1359"/>
                </a:lnTo>
                <a:lnTo>
                  <a:pt x="2541" y="1357"/>
                </a:lnTo>
                <a:lnTo>
                  <a:pt x="2537" y="1355"/>
                </a:lnTo>
                <a:lnTo>
                  <a:pt x="2533" y="1352"/>
                </a:lnTo>
                <a:lnTo>
                  <a:pt x="2532" y="1351"/>
                </a:lnTo>
                <a:lnTo>
                  <a:pt x="2530" y="1351"/>
                </a:lnTo>
                <a:lnTo>
                  <a:pt x="2529" y="1350"/>
                </a:lnTo>
                <a:lnTo>
                  <a:pt x="2526" y="1349"/>
                </a:lnTo>
                <a:lnTo>
                  <a:pt x="2525" y="1346"/>
                </a:lnTo>
                <a:lnTo>
                  <a:pt x="2523" y="1344"/>
                </a:lnTo>
                <a:lnTo>
                  <a:pt x="2519" y="1340"/>
                </a:lnTo>
                <a:lnTo>
                  <a:pt x="2517" y="1339"/>
                </a:lnTo>
                <a:lnTo>
                  <a:pt x="2512" y="1335"/>
                </a:lnTo>
                <a:lnTo>
                  <a:pt x="2507" y="1329"/>
                </a:lnTo>
                <a:lnTo>
                  <a:pt x="2504" y="1327"/>
                </a:lnTo>
                <a:lnTo>
                  <a:pt x="2503" y="1324"/>
                </a:lnTo>
                <a:lnTo>
                  <a:pt x="2501" y="1322"/>
                </a:lnTo>
                <a:lnTo>
                  <a:pt x="2500" y="1321"/>
                </a:lnTo>
                <a:lnTo>
                  <a:pt x="2500" y="1318"/>
                </a:lnTo>
                <a:lnTo>
                  <a:pt x="2497" y="1317"/>
                </a:lnTo>
                <a:lnTo>
                  <a:pt x="2497" y="1315"/>
                </a:lnTo>
                <a:lnTo>
                  <a:pt x="2495" y="1311"/>
                </a:lnTo>
                <a:lnTo>
                  <a:pt x="2494" y="1310"/>
                </a:lnTo>
                <a:lnTo>
                  <a:pt x="2492" y="1307"/>
                </a:lnTo>
                <a:lnTo>
                  <a:pt x="2491" y="1305"/>
                </a:lnTo>
                <a:lnTo>
                  <a:pt x="2490" y="1301"/>
                </a:lnTo>
                <a:lnTo>
                  <a:pt x="2488" y="1296"/>
                </a:lnTo>
                <a:lnTo>
                  <a:pt x="2488" y="1295"/>
                </a:lnTo>
                <a:lnTo>
                  <a:pt x="2485" y="1291"/>
                </a:lnTo>
                <a:lnTo>
                  <a:pt x="2485" y="1289"/>
                </a:lnTo>
                <a:lnTo>
                  <a:pt x="2483" y="1283"/>
                </a:lnTo>
                <a:lnTo>
                  <a:pt x="2481" y="1280"/>
                </a:lnTo>
                <a:lnTo>
                  <a:pt x="2481" y="1279"/>
                </a:lnTo>
                <a:lnTo>
                  <a:pt x="2480" y="1276"/>
                </a:lnTo>
                <a:lnTo>
                  <a:pt x="2479" y="1271"/>
                </a:lnTo>
                <a:lnTo>
                  <a:pt x="2478" y="1268"/>
                </a:lnTo>
                <a:lnTo>
                  <a:pt x="2477" y="1263"/>
                </a:lnTo>
                <a:lnTo>
                  <a:pt x="2477" y="1257"/>
                </a:lnTo>
                <a:lnTo>
                  <a:pt x="2475" y="1250"/>
                </a:lnTo>
                <a:lnTo>
                  <a:pt x="2473" y="1243"/>
                </a:lnTo>
                <a:lnTo>
                  <a:pt x="2473" y="1235"/>
                </a:lnTo>
                <a:lnTo>
                  <a:pt x="2473" y="1219"/>
                </a:lnTo>
                <a:lnTo>
                  <a:pt x="2473" y="1211"/>
                </a:lnTo>
                <a:lnTo>
                  <a:pt x="2473" y="1204"/>
                </a:lnTo>
                <a:lnTo>
                  <a:pt x="2474" y="1193"/>
                </a:lnTo>
                <a:lnTo>
                  <a:pt x="2474" y="1189"/>
                </a:lnTo>
                <a:lnTo>
                  <a:pt x="2477" y="1179"/>
                </a:lnTo>
                <a:lnTo>
                  <a:pt x="2477" y="1175"/>
                </a:lnTo>
                <a:lnTo>
                  <a:pt x="2478" y="1172"/>
                </a:lnTo>
                <a:lnTo>
                  <a:pt x="2479" y="1167"/>
                </a:lnTo>
                <a:lnTo>
                  <a:pt x="2480" y="1163"/>
                </a:lnTo>
                <a:lnTo>
                  <a:pt x="2480" y="1161"/>
                </a:lnTo>
                <a:lnTo>
                  <a:pt x="2481" y="1160"/>
                </a:lnTo>
                <a:lnTo>
                  <a:pt x="2483" y="1156"/>
                </a:lnTo>
                <a:lnTo>
                  <a:pt x="2484" y="1153"/>
                </a:lnTo>
                <a:lnTo>
                  <a:pt x="2485" y="1150"/>
                </a:lnTo>
                <a:lnTo>
                  <a:pt x="2486" y="1147"/>
                </a:lnTo>
                <a:lnTo>
                  <a:pt x="2488" y="1144"/>
                </a:lnTo>
                <a:lnTo>
                  <a:pt x="2489" y="1141"/>
                </a:lnTo>
                <a:lnTo>
                  <a:pt x="2490" y="1139"/>
                </a:lnTo>
                <a:lnTo>
                  <a:pt x="2491" y="1136"/>
                </a:lnTo>
                <a:lnTo>
                  <a:pt x="2492" y="1134"/>
                </a:lnTo>
                <a:lnTo>
                  <a:pt x="2494" y="1132"/>
                </a:lnTo>
                <a:lnTo>
                  <a:pt x="2495" y="1129"/>
                </a:lnTo>
                <a:lnTo>
                  <a:pt x="2496" y="1128"/>
                </a:lnTo>
                <a:lnTo>
                  <a:pt x="2497" y="1125"/>
                </a:lnTo>
                <a:lnTo>
                  <a:pt x="2498" y="1124"/>
                </a:lnTo>
                <a:lnTo>
                  <a:pt x="2500" y="1122"/>
                </a:lnTo>
                <a:lnTo>
                  <a:pt x="2501" y="1121"/>
                </a:lnTo>
                <a:lnTo>
                  <a:pt x="2503" y="1119"/>
                </a:lnTo>
                <a:lnTo>
                  <a:pt x="2504" y="1117"/>
                </a:lnTo>
                <a:lnTo>
                  <a:pt x="2507" y="1114"/>
                </a:lnTo>
                <a:lnTo>
                  <a:pt x="2510" y="1110"/>
                </a:lnTo>
                <a:lnTo>
                  <a:pt x="2514" y="1106"/>
                </a:lnTo>
                <a:lnTo>
                  <a:pt x="2519" y="1101"/>
                </a:lnTo>
                <a:lnTo>
                  <a:pt x="2523" y="1097"/>
                </a:lnTo>
                <a:lnTo>
                  <a:pt x="2525" y="1095"/>
                </a:lnTo>
                <a:lnTo>
                  <a:pt x="2527" y="1092"/>
                </a:lnTo>
                <a:lnTo>
                  <a:pt x="2530" y="1091"/>
                </a:lnTo>
                <a:lnTo>
                  <a:pt x="2532" y="1090"/>
                </a:lnTo>
                <a:lnTo>
                  <a:pt x="2533" y="1089"/>
                </a:lnTo>
                <a:lnTo>
                  <a:pt x="2535" y="1088"/>
                </a:lnTo>
                <a:lnTo>
                  <a:pt x="2537" y="1088"/>
                </a:lnTo>
                <a:lnTo>
                  <a:pt x="2539" y="1086"/>
                </a:lnTo>
                <a:lnTo>
                  <a:pt x="2542" y="1085"/>
                </a:lnTo>
                <a:lnTo>
                  <a:pt x="2543" y="1083"/>
                </a:lnTo>
                <a:lnTo>
                  <a:pt x="2547" y="1083"/>
                </a:lnTo>
                <a:lnTo>
                  <a:pt x="2549" y="1080"/>
                </a:lnTo>
                <a:lnTo>
                  <a:pt x="2567" y="1074"/>
                </a:lnTo>
                <a:lnTo>
                  <a:pt x="2570" y="1074"/>
                </a:lnTo>
                <a:lnTo>
                  <a:pt x="2573" y="1073"/>
                </a:lnTo>
                <a:lnTo>
                  <a:pt x="2577" y="1073"/>
                </a:lnTo>
                <a:lnTo>
                  <a:pt x="2581" y="1073"/>
                </a:lnTo>
                <a:lnTo>
                  <a:pt x="2581" y="1072"/>
                </a:lnTo>
                <a:close/>
                <a:moveTo>
                  <a:pt x="1629" y="1089"/>
                </a:moveTo>
                <a:lnTo>
                  <a:pt x="1629" y="1122"/>
                </a:lnTo>
                <a:lnTo>
                  <a:pt x="1580" y="1122"/>
                </a:lnTo>
                <a:lnTo>
                  <a:pt x="1581" y="1125"/>
                </a:lnTo>
                <a:lnTo>
                  <a:pt x="1583" y="1128"/>
                </a:lnTo>
                <a:lnTo>
                  <a:pt x="1583" y="1130"/>
                </a:lnTo>
                <a:lnTo>
                  <a:pt x="1585" y="1132"/>
                </a:lnTo>
                <a:lnTo>
                  <a:pt x="1586" y="1134"/>
                </a:lnTo>
                <a:lnTo>
                  <a:pt x="1587" y="1136"/>
                </a:lnTo>
                <a:lnTo>
                  <a:pt x="1588" y="1140"/>
                </a:lnTo>
                <a:lnTo>
                  <a:pt x="1588" y="1141"/>
                </a:lnTo>
                <a:lnTo>
                  <a:pt x="1589" y="1144"/>
                </a:lnTo>
                <a:lnTo>
                  <a:pt x="1589" y="1146"/>
                </a:lnTo>
                <a:lnTo>
                  <a:pt x="1591" y="1147"/>
                </a:lnTo>
                <a:lnTo>
                  <a:pt x="1591" y="1150"/>
                </a:lnTo>
                <a:lnTo>
                  <a:pt x="1592" y="1152"/>
                </a:lnTo>
                <a:lnTo>
                  <a:pt x="1592" y="1160"/>
                </a:lnTo>
                <a:lnTo>
                  <a:pt x="1593" y="1172"/>
                </a:lnTo>
                <a:lnTo>
                  <a:pt x="1594" y="1180"/>
                </a:lnTo>
                <a:lnTo>
                  <a:pt x="1594" y="1190"/>
                </a:lnTo>
                <a:lnTo>
                  <a:pt x="1593" y="1195"/>
                </a:lnTo>
                <a:lnTo>
                  <a:pt x="1592" y="1200"/>
                </a:lnTo>
                <a:lnTo>
                  <a:pt x="1592" y="1204"/>
                </a:lnTo>
                <a:lnTo>
                  <a:pt x="1587" y="1223"/>
                </a:lnTo>
                <a:lnTo>
                  <a:pt x="1586" y="1228"/>
                </a:lnTo>
                <a:lnTo>
                  <a:pt x="1585" y="1230"/>
                </a:lnTo>
                <a:lnTo>
                  <a:pt x="1581" y="1236"/>
                </a:lnTo>
                <a:lnTo>
                  <a:pt x="1579" y="1241"/>
                </a:lnTo>
                <a:lnTo>
                  <a:pt x="1577" y="1244"/>
                </a:lnTo>
                <a:lnTo>
                  <a:pt x="1576" y="1246"/>
                </a:lnTo>
                <a:lnTo>
                  <a:pt x="1575" y="1247"/>
                </a:lnTo>
                <a:lnTo>
                  <a:pt x="1574" y="1250"/>
                </a:lnTo>
                <a:lnTo>
                  <a:pt x="1571" y="1251"/>
                </a:lnTo>
                <a:lnTo>
                  <a:pt x="1565" y="1258"/>
                </a:lnTo>
                <a:lnTo>
                  <a:pt x="1562" y="1263"/>
                </a:lnTo>
                <a:lnTo>
                  <a:pt x="1559" y="1265"/>
                </a:lnTo>
                <a:lnTo>
                  <a:pt x="1557" y="1266"/>
                </a:lnTo>
                <a:lnTo>
                  <a:pt x="1554" y="1267"/>
                </a:lnTo>
                <a:lnTo>
                  <a:pt x="1553" y="1268"/>
                </a:lnTo>
                <a:lnTo>
                  <a:pt x="1551" y="1269"/>
                </a:lnTo>
                <a:lnTo>
                  <a:pt x="1548" y="1271"/>
                </a:lnTo>
                <a:lnTo>
                  <a:pt x="1545" y="1273"/>
                </a:lnTo>
                <a:lnTo>
                  <a:pt x="1542" y="1273"/>
                </a:lnTo>
                <a:lnTo>
                  <a:pt x="1540" y="1274"/>
                </a:lnTo>
                <a:lnTo>
                  <a:pt x="1536" y="1276"/>
                </a:lnTo>
                <a:lnTo>
                  <a:pt x="1535" y="1277"/>
                </a:lnTo>
                <a:lnTo>
                  <a:pt x="1529" y="1278"/>
                </a:lnTo>
                <a:lnTo>
                  <a:pt x="1523" y="1279"/>
                </a:lnTo>
                <a:lnTo>
                  <a:pt x="1508" y="1280"/>
                </a:lnTo>
                <a:lnTo>
                  <a:pt x="1505" y="1280"/>
                </a:lnTo>
                <a:lnTo>
                  <a:pt x="1500" y="1280"/>
                </a:lnTo>
                <a:lnTo>
                  <a:pt x="1492" y="1279"/>
                </a:lnTo>
                <a:lnTo>
                  <a:pt x="1488" y="1279"/>
                </a:lnTo>
                <a:lnTo>
                  <a:pt x="1484" y="1279"/>
                </a:lnTo>
                <a:lnTo>
                  <a:pt x="1482" y="1280"/>
                </a:lnTo>
                <a:lnTo>
                  <a:pt x="1481" y="1282"/>
                </a:lnTo>
                <a:lnTo>
                  <a:pt x="1478" y="1283"/>
                </a:lnTo>
                <a:lnTo>
                  <a:pt x="1476" y="1287"/>
                </a:lnTo>
                <a:lnTo>
                  <a:pt x="1473" y="1289"/>
                </a:lnTo>
                <a:lnTo>
                  <a:pt x="1470" y="1293"/>
                </a:lnTo>
                <a:lnTo>
                  <a:pt x="1469" y="1294"/>
                </a:lnTo>
                <a:lnTo>
                  <a:pt x="1467" y="1296"/>
                </a:lnTo>
                <a:lnTo>
                  <a:pt x="1466" y="1298"/>
                </a:lnTo>
                <a:lnTo>
                  <a:pt x="1465" y="1301"/>
                </a:lnTo>
                <a:lnTo>
                  <a:pt x="1464" y="1304"/>
                </a:lnTo>
                <a:lnTo>
                  <a:pt x="1463" y="1307"/>
                </a:lnTo>
                <a:lnTo>
                  <a:pt x="1463" y="1310"/>
                </a:lnTo>
                <a:lnTo>
                  <a:pt x="1463" y="1312"/>
                </a:lnTo>
                <a:lnTo>
                  <a:pt x="1464" y="1315"/>
                </a:lnTo>
                <a:lnTo>
                  <a:pt x="1466" y="1316"/>
                </a:lnTo>
                <a:lnTo>
                  <a:pt x="1469" y="1317"/>
                </a:lnTo>
                <a:lnTo>
                  <a:pt x="1471" y="1317"/>
                </a:lnTo>
                <a:lnTo>
                  <a:pt x="1477" y="1318"/>
                </a:lnTo>
                <a:lnTo>
                  <a:pt x="1489" y="1317"/>
                </a:lnTo>
                <a:lnTo>
                  <a:pt x="1505" y="1317"/>
                </a:lnTo>
                <a:lnTo>
                  <a:pt x="1519" y="1316"/>
                </a:lnTo>
                <a:lnTo>
                  <a:pt x="1525" y="1316"/>
                </a:lnTo>
                <a:lnTo>
                  <a:pt x="1534" y="1316"/>
                </a:lnTo>
                <a:lnTo>
                  <a:pt x="1540" y="1316"/>
                </a:lnTo>
                <a:lnTo>
                  <a:pt x="1550" y="1316"/>
                </a:lnTo>
                <a:lnTo>
                  <a:pt x="1556" y="1317"/>
                </a:lnTo>
                <a:lnTo>
                  <a:pt x="1560" y="1317"/>
                </a:lnTo>
                <a:lnTo>
                  <a:pt x="1564" y="1318"/>
                </a:lnTo>
                <a:lnTo>
                  <a:pt x="1568" y="1318"/>
                </a:lnTo>
                <a:lnTo>
                  <a:pt x="1574" y="1319"/>
                </a:lnTo>
                <a:lnTo>
                  <a:pt x="1576" y="1321"/>
                </a:lnTo>
                <a:lnTo>
                  <a:pt x="1579" y="1321"/>
                </a:lnTo>
                <a:lnTo>
                  <a:pt x="1581" y="1322"/>
                </a:lnTo>
                <a:lnTo>
                  <a:pt x="1582" y="1322"/>
                </a:lnTo>
                <a:lnTo>
                  <a:pt x="1585" y="1322"/>
                </a:lnTo>
                <a:lnTo>
                  <a:pt x="1591" y="1324"/>
                </a:lnTo>
                <a:lnTo>
                  <a:pt x="1593" y="1326"/>
                </a:lnTo>
                <a:lnTo>
                  <a:pt x="1595" y="1327"/>
                </a:lnTo>
                <a:lnTo>
                  <a:pt x="1599" y="1328"/>
                </a:lnTo>
                <a:lnTo>
                  <a:pt x="1602" y="1329"/>
                </a:lnTo>
                <a:lnTo>
                  <a:pt x="1605" y="1332"/>
                </a:lnTo>
                <a:lnTo>
                  <a:pt x="1608" y="1333"/>
                </a:lnTo>
                <a:lnTo>
                  <a:pt x="1610" y="1334"/>
                </a:lnTo>
                <a:lnTo>
                  <a:pt x="1611" y="1335"/>
                </a:lnTo>
                <a:lnTo>
                  <a:pt x="1614" y="1337"/>
                </a:lnTo>
                <a:lnTo>
                  <a:pt x="1616" y="1340"/>
                </a:lnTo>
                <a:lnTo>
                  <a:pt x="1621" y="1345"/>
                </a:lnTo>
                <a:lnTo>
                  <a:pt x="1623" y="1346"/>
                </a:lnTo>
                <a:lnTo>
                  <a:pt x="1626" y="1349"/>
                </a:lnTo>
                <a:lnTo>
                  <a:pt x="1627" y="1351"/>
                </a:lnTo>
                <a:lnTo>
                  <a:pt x="1628" y="1352"/>
                </a:lnTo>
                <a:lnTo>
                  <a:pt x="1629" y="1355"/>
                </a:lnTo>
                <a:lnTo>
                  <a:pt x="1631" y="1357"/>
                </a:lnTo>
                <a:lnTo>
                  <a:pt x="1632" y="1359"/>
                </a:lnTo>
                <a:lnTo>
                  <a:pt x="1633" y="1362"/>
                </a:lnTo>
                <a:lnTo>
                  <a:pt x="1634" y="1365"/>
                </a:lnTo>
                <a:lnTo>
                  <a:pt x="1634" y="1366"/>
                </a:lnTo>
                <a:lnTo>
                  <a:pt x="1635" y="1367"/>
                </a:lnTo>
                <a:lnTo>
                  <a:pt x="1635" y="1370"/>
                </a:lnTo>
                <a:lnTo>
                  <a:pt x="1635" y="1371"/>
                </a:lnTo>
                <a:lnTo>
                  <a:pt x="1637" y="1373"/>
                </a:lnTo>
                <a:lnTo>
                  <a:pt x="1638" y="1379"/>
                </a:lnTo>
                <a:lnTo>
                  <a:pt x="1639" y="1385"/>
                </a:lnTo>
                <a:lnTo>
                  <a:pt x="1639" y="1393"/>
                </a:lnTo>
                <a:lnTo>
                  <a:pt x="1639" y="1396"/>
                </a:lnTo>
                <a:lnTo>
                  <a:pt x="1638" y="1399"/>
                </a:lnTo>
                <a:lnTo>
                  <a:pt x="1638" y="1404"/>
                </a:lnTo>
                <a:lnTo>
                  <a:pt x="1638" y="1406"/>
                </a:lnTo>
                <a:lnTo>
                  <a:pt x="1637" y="1410"/>
                </a:lnTo>
                <a:lnTo>
                  <a:pt x="1637" y="1411"/>
                </a:lnTo>
                <a:lnTo>
                  <a:pt x="1635" y="1413"/>
                </a:lnTo>
                <a:lnTo>
                  <a:pt x="1635" y="1417"/>
                </a:lnTo>
                <a:lnTo>
                  <a:pt x="1634" y="1421"/>
                </a:lnTo>
                <a:lnTo>
                  <a:pt x="1633" y="1423"/>
                </a:lnTo>
                <a:lnTo>
                  <a:pt x="1631" y="1427"/>
                </a:lnTo>
                <a:lnTo>
                  <a:pt x="1628" y="1432"/>
                </a:lnTo>
                <a:lnTo>
                  <a:pt x="1627" y="1434"/>
                </a:lnTo>
                <a:lnTo>
                  <a:pt x="1626" y="1437"/>
                </a:lnTo>
                <a:lnTo>
                  <a:pt x="1623" y="1438"/>
                </a:lnTo>
                <a:lnTo>
                  <a:pt x="1622" y="1439"/>
                </a:lnTo>
                <a:lnTo>
                  <a:pt x="1621" y="1442"/>
                </a:lnTo>
                <a:lnTo>
                  <a:pt x="1616" y="1446"/>
                </a:lnTo>
                <a:lnTo>
                  <a:pt x="1609" y="1454"/>
                </a:lnTo>
                <a:lnTo>
                  <a:pt x="1606" y="1456"/>
                </a:lnTo>
                <a:lnTo>
                  <a:pt x="1604" y="1459"/>
                </a:lnTo>
                <a:lnTo>
                  <a:pt x="1602" y="1460"/>
                </a:lnTo>
                <a:lnTo>
                  <a:pt x="1600" y="1461"/>
                </a:lnTo>
                <a:lnTo>
                  <a:pt x="1598" y="1462"/>
                </a:lnTo>
                <a:lnTo>
                  <a:pt x="1595" y="1463"/>
                </a:lnTo>
                <a:lnTo>
                  <a:pt x="1594" y="1465"/>
                </a:lnTo>
                <a:lnTo>
                  <a:pt x="1592" y="1466"/>
                </a:lnTo>
                <a:lnTo>
                  <a:pt x="1589" y="1467"/>
                </a:lnTo>
                <a:lnTo>
                  <a:pt x="1587" y="1468"/>
                </a:lnTo>
                <a:lnTo>
                  <a:pt x="1582" y="1470"/>
                </a:lnTo>
                <a:lnTo>
                  <a:pt x="1581" y="1471"/>
                </a:lnTo>
                <a:lnTo>
                  <a:pt x="1577" y="1472"/>
                </a:lnTo>
                <a:lnTo>
                  <a:pt x="1557" y="1479"/>
                </a:lnTo>
                <a:lnTo>
                  <a:pt x="1553" y="1479"/>
                </a:lnTo>
                <a:lnTo>
                  <a:pt x="1551" y="1479"/>
                </a:lnTo>
                <a:lnTo>
                  <a:pt x="1547" y="1481"/>
                </a:lnTo>
                <a:lnTo>
                  <a:pt x="1544" y="1481"/>
                </a:lnTo>
                <a:lnTo>
                  <a:pt x="1539" y="1482"/>
                </a:lnTo>
                <a:lnTo>
                  <a:pt x="1533" y="1482"/>
                </a:lnTo>
                <a:lnTo>
                  <a:pt x="1522" y="1483"/>
                </a:lnTo>
                <a:lnTo>
                  <a:pt x="1519" y="1483"/>
                </a:lnTo>
                <a:lnTo>
                  <a:pt x="1513" y="1483"/>
                </a:lnTo>
                <a:lnTo>
                  <a:pt x="1506" y="1483"/>
                </a:lnTo>
                <a:lnTo>
                  <a:pt x="1496" y="1483"/>
                </a:lnTo>
                <a:lnTo>
                  <a:pt x="1490" y="1482"/>
                </a:lnTo>
                <a:lnTo>
                  <a:pt x="1471" y="1478"/>
                </a:lnTo>
                <a:lnTo>
                  <a:pt x="1453" y="1472"/>
                </a:lnTo>
                <a:lnTo>
                  <a:pt x="1450" y="1471"/>
                </a:lnTo>
                <a:lnTo>
                  <a:pt x="1449" y="1471"/>
                </a:lnTo>
                <a:lnTo>
                  <a:pt x="1446" y="1468"/>
                </a:lnTo>
                <a:lnTo>
                  <a:pt x="1442" y="1467"/>
                </a:lnTo>
                <a:lnTo>
                  <a:pt x="1440" y="1466"/>
                </a:lnTo>
                <a:lnTo>
                  <a:pt x="1436" y="1463"/>
                </a:lnTo>
                <a:lnTo>
                  <a:pt x="1435" y="1462"/>
                </a:lnTo>
                <a:lnTo>
                  <a:pt x="1432" y="1461"/>
                </a:lnTo>
                <a:lnTo>
                  <a:pt x="1432" y="1460"/>
                </a:lnTo>
                <a:lnTo>
                  <a:pt x="1430" y="1459"/>
                </a:lnTo>
                <a:lnTo>
                  <a:pt x="1429" y="1457"/>
                </a:lnTo>
                <a:lnTo>
                  <a:pt x="1426" y="1455"/>
                </a:lnTo>
                <a:lnTo>
                  <a:pt x="1421" y="1451"/>
                </a:lnTo>
                <a:lnTo>
                  <a:pt x="1418" y="1448"/>
                </a:lnTo>
                <a:lnTo>
                  <a:pt x="1414" y="1444"/>
                </a:lnTo>
                <a:lnTo>
                  <a:pt x="1413" y="1442"/>
                </a:lnTo>
                <a:lnTo>
                  <a:pt x="1412" y="1439"/>
                </a:lnTo>
                <a:lnTo>
                  <a:pt x="1411" y="1438"/>
                </a:lnTo>
                <a:lnTo>
                  <a:pt x="1409" y="1437"/>
                </a:lnTo>
                <a:lnTo>
                  <a:pt x="1408" y="1434"/>
                </a:lnTo>
                <a:lnTo>
                  <a:pt x="1407" y="1432"/>
                </a:lnTo>
                <a:lnTo>
                  <a:pt x="1406" y="1429"/>
                </a:lnTo>
                <a:lnTo>
                  <a:pt x="1405" y="1427"/>
                </a:lnTo>
                <a:lnTo>
                  <a:pt x="1403" y="1424"/>
                </a:lnTo>
                <a:lnTo>
                  <a:pt x="1403" y="1422"/>
                </a:lnTo>
                <a:lnTo>
                  <a:pt x="1401" y="1417"/>
                </a:lnTo>
                <a:lnTo>
                  <a:pt x="1400" y="1410"/>
                </a:lnTo>
                <a:lnTo>
                  <a:pt x="1398" y="1406"/>
                </a:lnTo>
                <a:lnTo>
                  <a:pt x="1397" y="1399"/>
                </a:lnTo>
                <a:lnTo>
                  <a:pt x="1397" y="1395"/>
                </a:lnTo>
                <a:lnTo>
                  <a:pt x="1397" y="1391"/>
                </a:lnTo>
                <a:lnTo>
                  <a:pt x="1398" y="1387"/>
                </a:lnTo>
                <a:lnTo>
                  <a:pt x="1400" y="1380"/>
                </a:lnTo>
                <a:lnTo>
                  <a:pt x="1400" y="1378"/>
                </a:lnTo>
                <a:lnTo>
                  <a:pt x="1401" y="1374"/>
                </a:lnTo>
                <a:lnTo>
                  <a:pt x="1402" y="1371"/>
                </a:lnTo>
                <a:lnTo>
                  <a:pt x="1405" y="1365"/>
                </a:lnTo>
                <a:lnTo>
                  <a:pt x="1407" y="1362"/>
                </a:lnTo>
                <a:lnTo>
                  <a:pt x="1408" y="1360"/>
                </a:lnTo>
                <a:lnTo>
                  <a:pt x="1409" y="1359"/>
                </a:lnTo>
                <a:lnTo>
                  <a:pt x="1411" y="1356"/>
                </a:lnTo>
                <a:lnTo>
                  <a:pt x="1413" y="1355"/>
                </a:lnTo>
                <a:lnTo>
                  <a:pt x="1418" y="1350"/>
                </a:lnTo>
                <a:lnTo>
                  <a:pt x="1420" y="1345"/>
                </a:lnTo>
                <a:lnTo>
                  <a:pt x="1424" y="1343"/>
                </a:lnTo>
                <a:lnTo>
                  <a:pt x="1426" y="1341"/>
                </a:lnTo>
                <a:lnTo>
                  <a:pt x="1427" y="1340"/>
                </a:lnTo>
                <a:lnTo>
                  <a:pt x="1430" y="1339"/>
                </a:lnTo>
                <a:lnTo>
                  <a:pt x="1432" y="1338"/>
                </a:lnTo>
                <a:lnTo>
                  <a:pt x="1434" y="1337"/>
                </a:lnTo>
                <a:lnTo>
                  <a:pt x="1431" y="1335"/>
                </a:lnTo>
                <a:lnTo>
                  <a:pt x="1430" y="1334"/>
                </a:lnTo>
                <a:lnTo>
                  <a:pt x="1427" y="1332"/>
                </a:lnTo>
                <a:lnTo>
                  <a:pt x="1424" y="1328"/>
                </a:lnTo>
                <a:lnTo>
                  <a:pt x="1423" y="1327"/>
                </a:lnTo>
                <a:lnTo>
                  <a:pt x="1421" y="1324"/>
                </a:lnTo>
                <a:lnTo>
                  <a:pt x="1421" y="1323"/>
                </a:lnTo>
                <a:lnTo>
                  <a:pt x="1420" y="1321"/>
                </a:lnTo>
                <a:lnTo>
                  <a:pt x="1419" y="1317"/>
                </a:lnTo>
                <a:lnTo>
                  <a:pt x="1419" y="1313"/>
                </a:lnTo>
                <a:lnTo>
                  <a:pt x="1419" y="1310"/>
                </a:lnTo>
                <a:lnTo>
                  <a:pt x="1420" y="1307"/>
                </a:lnTo>
                <a:lnTo>
                  <a:pt x="1420" y="1306"/>
                </a:lnTo>
                <a:lnTo>
                  <a:pt x="1421" y="1304"/>
                </a:lnTo>
                <a:lnTo>
                  <a:pt x="1423" y="1301"/>
                </a:lnTo>
                <a:lnTo>
                  <a:pt x="1424" y="1299"/>
                </a:lnTo>
                <a:lnTo>
                  <a:pt x="1425" y="1298"/>
                </a:lnTo>
                <a:lnTo>
                  <a:pt x="1426" y="1294"/>
                </a:lnTo>
                <a:lnTo>
                  <a:pt x="1427" y="1293"/>
                </a:lnTo>
                <a:lnTo>
                  <a:pt x="1430" y="1291"/>
                </a:lnTo>
                <a:lnTo>
                  <a:pt x="1432" y="1288"/>
                </a:lnTo>
                <a:lnTo>
                  <a:pt x="1438" y="1282"/>
                </a:lnTo>
                <a:lnTo>
                  <a:pt x="1444" y="1276"/>
                </a:lnTo>
                <a:lnTo>
                  <a:pt x="1447" y="1272"/>
                </a:lnTo>
                <a:lnTo>
                  <a:pt x="1456" y="1265"/>
                </a:lnTo>
                <a:lnTo>
                  <a:pt x="1453" y="1263"/>
                </a:lnTo>
                <a:lnTo>
                  <a:pt x="1452" y="1261"/>
                </a:lnTo>
                <a:lnTo>
                  <a:pt x="1449" y="1260"/>
                </a:lnTo>
                <a:lnTo>
                  <a:pt x="1446" y="1256"/>
                </a:lnTo>
                <a:lnTo>
                  <a:pt x="1437" y="1249"/>
                </a:lnTo>
                <a:lnTo>
                  <a:pt x="1435" y="1245"/>
                </a:lnTo>
                <a:lnTo>
                  <a:pt x="1432" y="1243"/>
                </a:lnTo>
                <a:lnTo>
                  <a:pt x="1431" y="1240"/>
                </a:lnTo>
                <a:lnTo>
                  <a:pt x="1430" y="1238"/>
                </a:lnTo>
                <a:lnTo>
                  <a:pt x="1430" y="1236"/>
                </a:lnTo>
                <a:lnTo>
                  <a:pt x="1427" y="1234"/>
                </a:lnTo>
                <a:lnTo>
                  <a:pt x="1427" y="1233"/>
                </a:lnTo>
                <a:lnTo>
                  <a:pt x="1426" y="1230"/>
                </a:lnTo>
                <a:lnTo>
                  <a:pt x="1425" y="1228"/>
                </a:lnTo>
                <a:lnTo>
                  <a:pt x="1424" y="1225"/>
                </a:lnTo>
                <a:lnTo>
                  <a:pt x="1423" y="1223"/>
                </a:lnTo>
                <a:lnTo>
                  <a:pt x="1420" y="1219"/>
                </a:lnTo>
                <a:lnTo>
                  <a:pt x="1419" y="1217"/>
                </a:lnTo>
                <a:lnTo>
                  <a:pt x="1418" y="1212"/>
                </a:lnTo>
                <a:lnTo>
                  <a:pt x="1418" y="1211"/>
                </a:lnTo>
                <a:lnTo>
                  <a:pt x="1417" y="1208"/>
                </a:lnTo>
                <a:lnTo>
                  <a:pt x="1417" y="1207"/>
                </a:lnTo>
                <a:lnTo>
                  <a:pt x="1415" y="1205"/>
                </a:lnTo>
                <a:lnTo>
                  <a:pt x="1414" y="1201"/>
                </a:lnTo>
                <a:lnTo>
                  <a:pt x="1414" y="1199"/>
                </a:lnTo>
                <a:lnTo>
                  <a:pt x="1413" y="1196"/>
                </a:lnTo>
                <a:lnTo>
                  <a:pt x="1413" y="1193"/>
                </a:lnTo>
                <a:lnTo>
                  <a:pt x="1412" y="1185"/>
                </a:lnTo>
                <a:lnTo>
                  <a:pt x="1411" y="1178"/>
                </a:lnTo>
                <a:lnTo>
                  <a:pt x="1411" y="1171"/>
                </a:lnTo>
                <a:lnTo>
                  <a:pt x="1411" y="1166"/>
                </a:lnTo>
                <a:lnTo>
                  <a:pt x="1411" y="1163"/>
                </a:lnTo>
                <a:lnTo>
                  <a:pt x="1411" y="1157"/>
                </a:lnTo>
                <a:lnTo>
                  <a:pt x="1412" y="1152"/>
                </a:lnTo>
                <a:lnTo>
                  <a:pt x="1412" y="1149"/>
                </a:lnTo>
                <a:lnTo>
                  <a:pt x="1415" y="1139"/>
                </a:lnTo>
                <a:lnTo>
                  <a:pt x="1415" y="1136"/>
                </a:lnTo>
                <a:lnTo>
                  <a:pt x="1415" y="1134"/>
                </a:lnTo>
                <a:lnTo>
                  <a:pt x="1417" y="1133"/>
                </a:lnTo>
                <a:lnTo>
                  <a:pt x="1417" y="1132"/>
                </a:lnTo>
                <a:lnTo>
                  <a:pt x="1418" y="1129"/>
                </a:lnTo>
                <a:lnTo>
                  <a:pt x="1418" y="1127"/>
                </a:lnTo>
                <a:lnTo>
                  <a:pt x="1419" y="1124"/>
                </a:lnTo>
                <a:lnTo>
                  <a:pt x="1420" y="1122"/>
                </a:lnTo>
                <a:lnTo>
                  <a:pt x="1421" y="1118"/>
                </a:lnTo>
                <a:lnTo>
                  <a:pt x="1423" y="1117"/>
                </a:lnTo>
                <a:lnTo>
                  <a:pt x="1425" y="1112"/>
                </a:lnTo>
                <a:lnTo>
                  <a:pt x="1426" y="1111"/>
                </a:lnTo>
                <a:lnTo>
                  <a:pt x="1427" y="1108"/>
                </a:lnTo>
                <a:lnTo>
                  <a:pt x="1429" y="1107"/>
                </a:lnTo>
                <a:lnTo>
                  <a:pt x="1431" y="1106"/>
                </a:lnTo>
                <a:lnTo>
                  <a:pt x="1432" y="1103"/>
                </a:lnTo>
                <a:lnTo>
                  <a:pt x="1436" y="1099"/>
                </a:lnTo>
                <a:lnTo>
                  <a:pt x="1440" y="1095"/>
                </a:lnTo>
                <a:lnTo>
                  <a:pt x="1441" y="1094"/>
                </a:lnTo>
                <a:lnTo>
                  <a:pt x="1444" y="1090"/>
                </a:lnTo>
                <a:lnTo>
                  <a:pt x="1447" y="1088"/>
                </a:lnTo>
                <a:lnTo>
                  <a:pt x="1448" y="1088"/>
                </a:lnTo>
                <a:lnTo>
                  <a:pt x="1450" y="1086"/>
                </a:lnTo>
                <a:lnTo>
                  <a:pt x="1453" y="1085"/>
                </a:lnTo>
                <a:lnTo>
                  <a:pt x="1458" y="1083"/>
                </a:lnTo>
                <a:lnTo>
                  <a:pt x="1459" y="1081"/>
                </a:lnTo>
                <a:lnTo>
                  <a:pt x="1461" y="1080"/>
                </a:lnTo>
                <a:lnTo>
                  <a:pt x="1464" y="1079"/>
                </a:lnTo>
                <a:lnTo>
                  <a:pt x="1466" y="1078"/>
                </a:lnTo>
                <a:lnTo>
                  <a:pt x="1469" y="1077"/>
                </a:lnTo>
                <a:lnTo>
                  <a:pt x="1471" y="1077"/>
                </a:lnTo>
                <a:lnTo>
                  <a:pt x="1472" y="1075"/>
                </a:lnTo>
                <a:lnTo>
                  <a:pt x="1475" y="1075"/>
                </a:lnTo>
                <a:lnTo>
                  <a:pt x="1477" y="1074"/>
                </a:lnTo>
                <a:lnTo>
                  <a:pt x="1479" y="1074"/>
                </a:lnTo>
                <a:lnTo>
                  <a:pt x="1482" y="1073"/>
                </a:lnTo>
                <a:lnTo>
                  <a:pt x="1485" y="1073"/>
                </a:lnTo>
                <a:lnTo>
                  <a:pt x="1490" y="1073"/>
                </a:lnTo>
                <a:lnTo>
                  <a:pt x="1510" y="1072"/>
                </a:lnTo>
                <a:lnTo>
                  <a:pt x="1515" y="1073"/>
                </a:lnTo>
                <a:lnTo>
                  <a:pt x="1517" y="1073"/>
                </a:lnTo>
                <a:lnTo>
                  <a:pt x="1519" y="1073"/>
                </a:lnTo>
                <a:lnTo>
                  <a:pt x="1522" y="1074"/>
                </a:lnTo>
                <a:lnTo>
                  <a:pt x="1524" y="1074"/>
                </a:lnTo>
                <a:lnTo>
                  <a:pt x="1525" y="1075"/>
                </a:lnTo>
                <a:lnTo>
                  <a:pt x="1528" y="1075"/>
                </a:lnTo>
                <a:lnTo>
                  <a:pt x="1531" y="1077"/>
                </a:lnTo>
                <a:lnTo>
                  <a:pt x="1534" y="1078"/>
                </a:lnTo>
                <a:lnTo>
                  <a:pt x="1537" y="1080"/>
                </a:lnTo>
                <a:lnTo>
                  <a:pt x="1542" y="1083"/>
                </a:lnTo>
                <a:lnTo>
                  <a:pt x="1544" y="1084"/>
                </a:lnTo>
                <a:lnTo>
                  <a:pt x="1547" y="1085"/>
                </a:lnTo>
                <a:lnTo>
                  <a:pt x="1548" y="1088"/>
                </a:lnTo>
                <a:lnTo>
                  <a:pt x="1550" y="1088"/>
                </a:lnTo>
                <a:lnTo>
                  <a:pt x="1629" y="1089"/>
                </a:lnTo>
                <a:close/>
                <a:moveTo>
                  <a:pt x="1345" y="1204"/>
                </a:moveTo>
                <a:lnTo>
                  <a:pt x="1175" y="1244"/>
                </a:lnTo>
                <a:lnTo>
                  <a:pt x="1176" y="1249"/>
                </a:lnTo>
                <a:lnTo>
                  <a:pt x="1177" y="1254"/>
                </a:lnTo>
                <a:lnTo>
                  <a:pt x="1177" y="1256"/>
                </a:lnTo>
                <a:lnTo>
                  <a:pt x="1178" y="1261"/>
                </a:lnTo>
                <a:lnTo>
                  <a:pt x="1180" y="1266"/>
                </a:lnTo>
                <a:lnTo>
                  <a:pt x="1180" y="1267"/>
                </a:lnTo>
                <a:lnTo>
                  <a:pt x="1181" y="1269"/>
                </a:lnTo>
                <a:lnTo>
                  <a:pt x="1181" y="1271"/>
                </a:lnTo>
                <a:lnTo>
                  <a:pt x="1183" y="1277"/>
                </a:lnTo>
                <a:lnTo>
                  <a:pt x="1185" y="1279"/>
                </a:lnTo>
                <a:lnTo>
                  <a:pt x="1186" y="1283"/>
                </a:lnTo>
                <a:lnTo>
                  <a:pt x="1187" y="1287"/>
                </a:lnTo>
                <a:lnTo>
                  <a:pt x="1189" y="1291"/>
                </a:lnTo>
                <a:lnTo>
                  <a:pt x="1192" y="1294"/>
                </a:lnTo>
                <a:lnTo>
                  <a:pt x="1193" y="1296"/>
                </a:lnTo>
                <a:lnTo>
                  <a:pt x="1194" y="1298"/>
                </a:lnTo>
                <a:lnTo>
                  <a:pt x="1195" y="1300"/>
                </a:lnTo>
                <a:lnTo>
                  <a:pt x="1197" y="1301"/>
                </a:lnTo>
                <a:lnTo>
                  <a:pt x="1199" y="1304"/>
                </a:lnTo>
                <a:lnTo>
                  <a:pt x="1201" y="1307"/>
                </a:lnTo>
                <a:lnTo>
                  <a:pt x="1203" y="1308"/>
                </a:lnTo>
                <a:lnTo>
                  <a:pt x="1205" y="1311"/>
                </a:lnTo>
                <a:lnTo>
                  <a:pt x="1209" y="1315"/>
                </a:lnTo>
                <a:lnTo>
                  <a:pt x="1211" y="1317"/>
                </a:lnTo>
                <a:lnTo>
                  <a:pt x="1214" y="1318"/>
                </a:lnTo>
                <a:lnTo>
                  <a:pt x="1215" y="1319"/>
                </a:lnTo>
                <a:lnTo>
                  <a:pt x="1217" y="1319"/>
                </a:lnTo>
                <a:lnTo>
                  <a:pt x="1220" y="1322"/>
                </a:lnTo>
                <a:lnTo>
                  <a:pt x="1223" y="1323"/>
                </a:lnTo>
                <a:lnTo>
                  <a:pt x="1226" y="1323"/>
                </a:lnTo>
                <a:lnTo>
                  <a:pt x="1229" y="1326"/>
                </a:lnTo>
                <a:lnTo>
                  <a:pt x="1232" y="1326"/>
                </a:lnTo>
                <a:lnTo>
                  <a:pt x="1237" y="1327"/>
                </a:lnTo>
                <a:lnTo>
                  <a:pt x="1241" y="1328"/>
                </a:lnTo>
                <a:lnTo>
                  <a:pt x="1247" y="1329"/>
                </a:lnTo>
                <a:lnTo>
                  <a:pt x="1252" y="1329"/>
                </a:lnTo>
                <a:lnTo>
                  <a:pt x="1259" y="1329"/>
                </a:lnTo>
                <a:lnTo>
                  <a:pt x="1272" y="1328"/>
                </a:lnTo>
                <a:lnTo>
                  <a:pt x="1274" y="1327"/>
                </a:lnTo>
                <a:lnTo>
                  <a:pt x="1276" y="1327"/>
                </a:lnTo>
                <a:lnTo>
                  <a:pt x="1280" y="1326"/>
                </a:lnTo>
                <a:lnTo>
                  <a:pt x="1281" y="1326"/>
                </a:lnTo>
                <a:lnTo>
                  <a:pt x="1284" y="1324"/>
                </a:lnTo>
                <a:lnTo>
                  <a:pt x="1285" y="1324"/>
                </a:lnTo>
                <a:lnTo>
                  <a:pt x="1288" y="1323"/>
                </a:lnTo>
                <a:lnTo>
                  <a:pt x="1291" y="1322"/>
                </a:lnTo>
                <a:lnTo>
                  <a:pt x="1296" y="1319"/>
                </a:lnTo>
                <a:lnTo>
                  <a:pt x="1299" y="1318"/>
                </a:lnTo>
                <a:lnTo>
                  <a:pt x="1302" y="1316"/>
                </a:lnTo>
                <a:lnTo>
                  <a:pt x="1303" y="1315"/>
                </a:lnTo>
                <a:lnTo>
                  <a:pt x="1305" y="1313"/>
                </a:lnTo>
                <a:lnTo>
                  <a:pt x="1307" y="1311"/>
                </a:lnTo>
                <a:lnTo>
                  <a:pt x="1311" y="1307"/>
                </a:lnTo>
                <a:lnTo>
                  <a:pt x="1316" y="1304"/>
                </a:lnTo>
                <a:lnTo>
                  <a:pt x="1317" y="1302"/>
                </a:lnTo>
                <a:lnTo>
                  <a:pt x="1321" y="1298"/>
                </a:lnTo>
                <a:lnTo>
                  <a:pt x="1322" y="1296"/>
                </a:lnTo>
                <a:lnTo>
                  <a:pt x="1326" y="1293"/>
                </a:lnTo>
                <a:lnTo>
                  <a:pt x="1328" y="1291"/>
                </a:lnTo>
                <a:lnTo>
                  <a:pt x="1330" y="1290"/>
                </a:lnTo>
                <a:lnTo>
                  <a:pt x="1333" y="1288"/>
                </a:lnTo>
                <a:lnTo>
                  <a:pt x="1337" y="1288"/>
                </a:lnTo>
                <a:lnTo>
                  <a:pt x="1339" y="1288"/>
                </a:lnTo>
                <a:lnTo>
                  <a:pt x="1342" y="1290"/>
                </a:lnTo>
                <a:lnTo>
                  <a:pt x="1343" y="1290"/>
                </a:lnTo>
                <a:lnTo>
                  <a:pt x="1344" y="1293"/>
                </a:lnTo>
                <a:lnTo>
                  <a:pt x="1344" y="1294"/>
                </a:lnTo>
                <a:lnTo>
                  <a:pt x="1345" y="1296"/>
                </a:lnTo>
                <a:lnTo>
                  <a:pt x="1345" y="1299"/>
                </a:lnTo>
                <a:lnTo>
                  <a:pt x="1344" y="1304"/>
                </a:lnTo>
                <a:lnTo>
                  <a:pt x="1343" y="1308"/>
                </a:lnTo>
                <a:lnTo>
                  <a:pt x="1342" y="1311"/>
                </a:lnTo>
                <a:lnTo>
                  <a:pt x="1340" y="1313"/>
                </a:lnTo>
                <a:lnTo>
                  <a:pt x="1339" y="1316"/>
                </a:lnTo>
                <a:lnTo>
                  <a:pt x="1338" y="1318"/>
                </a:lnTo>
                <a:lnTo>
                  <a:pt x="1336" y="1322"/>
                </a:lnTo>
                <a:lnTo>
                  <a:pt x="1334" y="1322"/>
                </a:lnTo>
                <a:lnTo>
                  <a:pt x="1333" y="1324"/>
                </a:lnTo>
                <a:lnTo>
                  <a:pt x="1331" y="1327"/>
                </a:lnTo>
                <a:lnTo>
                  <a:pt x="1328" y="1330"/>
                </a:lnTo>
                <a:lnTo>
                  <a:pt x="1322" y="1337"/>
                </a:lnTo>
                <a:lnTo>
                  <a:pt x="1319" y="1340"/>
                </a:lnTo>
                <a:lnTo>
                  <a:pt x="1316" y="1344"/>
                </a:lnTo>
                <a:lnTo>
                  <a:pt x="1313" y="1346"/>
                </a:lnTo>
                <a:lnTo>
                  <a:pt x="1310" y="1348"/>
                </a:lnTo>
                <a:lnTo>
                  <a:pt x="1309" y="1349"/>
                </a:lnTo>
                <a:lnTo>
                  <a:pt x="1307" y="1351"/>
                </a:lnTo>
                <a:lnTo>
                  <a:pt x="1304" y="1351"/>
                </a:lnTo>
                <a:lnTo>
                  <a:pt x="1302" y="1352"/>
                </a:lnTo>
                <a:lnTo>
                  <a:pt x="1298" y="1355"/>
                </a:lnTo>
                <a:lnTo>
                  <a:pt x="1296" y="1356"/>
                </a:lnTo>
                <a:lnTo>
                  <a:pt x="1291" y="1359"/>
                </a:lnTo>
                <a:lnTo>
                  <a:pt x="1288" y="1360"/>
                </a:lnTo>
                <a:lnTo>
                  <a:pt x="1287" y="1361"/>
                </a:lnTo>
                <a:lnTo>
                  <a:pt x="1284" y="1362"/>
                </a:lnTo>
                <a:lnTo>
                  <a:pt x="1280" y="1363"/>
                </a:lnTo>
                <a:lnTo>
                  <a:pt x="1279" y="1363"/>
                </a:lnTo>
                <a:lnTo>
                  <a:pt x="1276" y="1365"/>
                </a:lnTo>
                <a:lnTo>
                  <a:pt x="1275" y="1365"/>
                </a:lnTo>
                <a:lnTo>
                  <a:pt x="1270" y="1366"/>
                </a:lnTo>
                <a:lnTo>
                  <a:pt x="1264" y="1367"/>
                </a:lnTo>
                <a:lnTo>
                  <a:pt x="1258" y="1368"/>
                </a:lnTo>
                <a:lnTo>
                  <a:pt x="1250" y="1370"/>
                </a:lnTo>
                <a:lnTo>
                  <a:pt x="1240" y="1368"/>
                </a:lnTo>
                <a:lnTo>
                  <a:pt x="1233" y="1367"/>
                </a:lnTo>
                <a:lnTo>
                  <a:pt x="1226" y="1367"/>
                </a:lnTo>
                <a:lnTo>
                  <a:pt x="1223" y="1366"/>
                </a:lnTo>
                <a:lnTo>
                  <a:pt x="1221" y="1366"/>
                </a:lnTo>
                <a:lnTo>
                  <a:pt x="1218" y="1366"/>
                </a:lnTo>
                <a:lnTo>
                  <a:pt x="1216" y="1365"/>
                </a:lnTo>
                <a:lnTo>
                  <a:pt x="1215" y="1365"/>
                </a:lnTo>
                <a:lnTo>
                  <a:pt x="1212" y="1363"/>
                </a:lnTo>
                <a:lnTo>
                  <a:pt x="1211" y="1363"/>
                </a:lnTo>
                <a:lnTo>
                  <a:pt x="1209" y="1362"/>
                </a:lnTo>
                <a:lnTo>
                  <a:pt x="1206" y="1361"/>
                </a:lnTo>
                <a:lnTo>
                  <a:pt x="1203" y="1360"/>
                </a:lnTo>
                <a:lnTo>
                  <a:pt x="1200" y="1359"/>
                </a:lnTo>
                <a:lnTo>
                  <a:pt x="1197" y="1356"/>
                </a:lnTo>
                <a:lnTo>
                  <a:pt x="1192" y="1354"/>
                </a:lnTo>
                <a:lnTo>
                  <a:pt x="1191" y="1352"/>
                </a:lnTo>
                <a:lnTo>
                  <a:pt x="1188" y="1351"/>
                </a:lnTo>
                <a:lnTo>
                  <a:pt x="1187" y="1351"/>
                </a:lnTo>
                <a:lnTo>
                  <a:pt x="1186" y="1349"/>
                </a:lnTo>
                <a:lnTo>
                  <a:pt x="1183" y="1348"/>
                </a:lnTo>
                <a:lnTo>
                  <a:pt x="1181" y="1345"/>
                </a:lnTo>
                <a:lnTo>
                  <a:pt x="1174" y="1339"/>
                </a:lnTo>
                <a:lnTo>
                  <a:pt x="1168" y="1333"/>
                </a:lnTo>
                <a:lnTo>
                  <a:pt x="1165" y="1329"/>
                </a:lnTo>
                <a:lnTo>
                  <a:pt x="1163" y="1327"/>
                </a:lnTo>
                <a:lnTo>
                  <a:pt x="1162" y="1324"/>
                </a:lnTo>
                <a:lnTo>
                  <a:pt x="1160" y="1323"/>
                </a:lnTo>
                <a:lnTo>
                  <a:pt x="1159" y="1322"/>
                </a:lnTo>
                <a:lnTo>
                  <a:pt x="1158" y="1319"/>
                </a:lnTo>
                <a:lnTo>
                  <a:pt x="1157" y="1318"/>
                </a:lnTo>
                <a:lnTo>
                  <a:pt x="1156" y="1316"/>
                </a:lnTo>
                <a:lnTo>
                  <a:pt x="1154" y="1312"/>
                </a:lnTo>
                <a:lnTo>
                  <a:pt x="1153" y="1311"/>
                </a:lnTo>
                <a:lnTo>
                  <a:pt x="1152" y="1308"/>
                </a:lnTo>
                <a:lnTo>
                  <a:pt x="1151" y="1306"/>
                </a:lnTo>
                <a:lnTo>
                  <a:pt x="1149" y="1304"/>
                </a:lnTo>
                <a:lnTo>
                  <a:pt x="1147" y="1299"/>
                </a:lnTo>
                <a:lnTo>
                  <a:pt x="1147" y="1298"/>
                </a:lnTo>
                <a:lnTo>
                  <a:pt x="1146" y="1295"/>
                </a:lnTo>
                <a:lnTo>
                  <a:pt x="1145" y="1293"/>
                </a:lnTo>
                <a:lnTo>
                  <a:pt x="1142" y="1287"/>
                </a:lnTo>
                <a:lnTo>
                  <a:pt x="1135" y="1262"/>
                </a:lnTo>
                <a:lnTo>
                  <a:pt x="1135" y="1256"/>
                </a:lnTo>
                <a:lnTo>
                  <a:pt x="1134" y="1252"/>
                </a:lnTo>
                <a:lnTo>
                  <a:pt x="1134" y="1249"/>
                </a:lnTo>
                <a:lnTo>
                  <a:pt x="1133" y="1244"/>
                </a:lnTo>
                <a:lnTo>
                  <a:pt x="1133" y="1239"/>
                </a:lnTo>
                <a:lnTo>
                  <a:pt x="1131" y="1232"/>
                </a:lnTo>
                <a:lnTo>
                  <a:pt x="1131" y="1227"/>
                </a:lnTo>
                <a:lnTo>
                  <a:pt x="1131" y="1219"/>
                </a:lnTo>
                <a:lnTo>
                  <a:pt x="1131" y="1213"/>
                </a:lnTo>
                <a:lnTo>
                  <a:pt x="1131" y="1208"/>
                </a:lnTo>
                <a:lnTo>
                  <a:pt x="1133" y="1195"/>
                </a:lnTo>
                <a:lnTo>
                  <a:pt x="1133" y="1191"/>
                </a:lnTo>
                <a:lnTo>
                  <a:pt x="1134" y="1188"/>
                </a:lnTo>
                <a:lnTo>
                  <a:pt x="1134" y="1184"/>
                </a:lnTo>
                <a:lnTo>
                  <a:pt x="1135" y="1182"/>
                </a:lnTo>
                <a:lnTo>
                  <a:pt x="1135" y="1178"/>
                </a:lnTo>
                <a:lnTo>
                  <a:pt x="1136" y="1175"/>
                </a:lnTo>
                <a:lnTo>
                  <a:pt x="1136" y="1173"/>
                </a:lnTo>
                <a:lnTo>
                  <a:pt x="1137" y="1171"/>
                </a:lnTo>
                <a:lnTo>
                  <a:pt x="1139" y="1167"/>
                </a:lnTo>
                <a:lnTo>
                  <a:pt x="1139" y="1164"/>
                </a:lnTo>
                <a:lnTo>
                  <a:pt x="1140" y="1163"/>
                </a:lnTo>
                <a:lnTo>
                  <a:pt x="1140" y="1161"/>
                </a:lnTo>
                <a:lnTo>
                  <a:pt x="1141" y="1160"/>
                </a:lnTo>
                <a:lnTo>
                  <a:pt x="1142" y="1155"/>
                </a:lnTo>
                <a:lnTo>
                  <a:pt x="1143" y="1151"/>
                </a:lnTo>
                <a:lnTo>
                  <a:pt x="1145" y="1149"/>
                </a:lnTo>
                <a:lnTo>
                  <a:pt x="1146" y="1145"/>
                </a:lnTo>
                <a:lnTo>
                  <a:pt x="1148" y="1141"/>
                </a:lnTo>
                <a:lnTo>
                  <a:pt x="1149" y="1139"/>
                </a:lnTo>
                <a:lnTo>
                  <a:pt x="1151" y="1135"/>
                </a:lnTo>
                <a:lnTo>
                  <a:pt x="1153" y="1132"/>
                </a:lnTo>
                <a:lnTo>
                  <a:pt x="1156" y="1128"/>
                </a:lnTo>
                <a:lnTo>
                  <a:pt x="1157" y="1127"/>
                </a:lnTo>
                <a:lnTo>
                  <a:pt x="1157" y="1124"/>
                </a:lnTo>
                <a:lnTo>
                  <a:pt x="1158" y="1123"/>
                </a:lnTo>
                <a:lnTo>
                  <a:pt x="1159" y="1121"/>
                </a:lnTo>
                <a:lnTo>
                  <a:pt x="1160" y="1119"/>
                </a:lnTo>
                <a:lnTo>
                  <a:pt x="1163" y="1118"/>
                </a:lnTo>
                <a:lnTo>
                  <a:pt x="1164" y="1116"/>
                </a:lnTo>
                <a:lnTo>
                  <a:pt x="1168" y="1112"/>
                </a:lnTo>
                <a:lnTo>
                  <a:pt x="1168" y="1111"/>
                </a:lnTo>
                <a:lnTo>
                  <a:pt x="1172" y="1106"/>
                </a:lnTo>
                <a:lnTo>
                  <a:pt x="1175" y="1102"/>
                </a:lnTo>
                <a:lnTo>
                  <a:pt x="1177" y="1102"/>
                </a:lnTo>
                <a:lnTo>
                  <a:pt x="1182" y="1096"/>
                </a:lnTo>
                <a:lnTo>
                  <a:pt x="1185" y="1094"/>
                </a:lnTo>
                <a:lnTo>
                  <a:pt x="1187" y="1092"/>
                </a:lnTo>
                <a:lnTo>
                  <a:pt x="1189" y="1090"/>
                </a:lnTo>
                <a:lnTo>
                  <a:pt x="1191" y="1089"/>
                </a:lnTo>
                <a:lnTo>
                  <a:pt x="1193" y="1089"/>
                </a:lnTo>
                <a:lnTo>
                  <a:pt x="1194" y="1088"/>
                </a:lnTo>
                <a:lnTo>
                  <a:pt x="1197" y="1086"/>
                </a:lnTo>
                <a:lnTo>
                  <a:pt x="1200" y="1085"/>
                </a:lnTo>
                <a:lnTo>
                  <a:pt x="1204" y="1083"/>
                </a:lnTo>
                <a:lnTo>
                  <a:pt x="1207" y="1080"/>
                </a:lnTo>
                <a:lnTo>
                  <a:pt x="1209" y="1080"/>
                </a:lnTo>
                <a:lnTo>
                  <a:pt x="1212" y="1079"/>
                </a:lnTo>
                <a:lnTo>
                  <a:pt x="1215" y="1078"/>
                </a:lnTo>
                <a:lnTo>
                  <a:pt x="1216" y="1077"/>
                </a:lnTo>
                <a:lnTo>
                  <a:pt x="1218" y="1077"/>
                </a:lnTo>
                <a:lnTo>
                  <a:pt x="1220" y="1075"/>
                </a:lnTo>
                <a:lnTo>
                  <a:pt x="1227" y="1074"/>
                </a:lnTo>
                <a:lnTo>
                  <a:pt x="1234" y="1073"/>
                </a:lnTo>
                <a:lnTo>
                  <a:pt x="1249" y="1072"/>
                </a:lnTo>
                <a:lnTo>
                  <a:pt x="1261" y="1073"/>
                </a:lnTo>
                <a:lnTo>
                  <a:pt x="1267" y="1074"/>
                </a:lnTo>
                <a:lnTo>
                  <a:pt x="1272" y="1075"/>
                </a:lnTo>
                <a:lnTo>
                  <a:pt x="1273" y="1075"/>
                </a:lnTo>
                <a:lnTo>
                  <a:pt x="1274" y="1077"/>
                </a:lnTo>
                <a:lnTo>
                  <a:pt x="1276" y="1077"/>
                </a:lnTo>
                <a:lnTo>
                  <a:pt x="1280" y="1078"/>
                </a:lnTo>
                <a:lnTo>
                  <a:pt x="1282" y="1079"/>
                </a:lnTo>
                <a:lnTo>
                  <a:pt x="1284" y="1080"/>
                </a:lnTo>
                <a:lnTo>
                  <a:pt x="1286" y="1081"/>
                </a:lnTo>
                <a:lnTo>
                  <a:pt x="1287" y="1083"/>
                </a:lnTo>
                <a:lnTo>
                  <a:pt x="1291" y="1084"/>
                </a:lnTo>
                <a:lnTo>
                  <a:pt x="1293" y="1085"/>
                </a:lnTo>
                <a:lnTo>
                  <a:pt x="1295" y="1086"/>
                </a:lnTo>
                <a:lnTo>
                  <a:pt x="1297" y="1088"/>
                </a:lnTo>
                <a:lnTo>
                  <a:pt x="1298" y="1089"/>
                </a:lnTo>
                <a:lnTo>
                  <a:pt x="1301" y="1091"/>
                </a:lnTo>
                <a:lnTo>
                  <a:pt x="1307" y="1097"/>
                </a:lnTo>
                <a:lnTo>
                  <a:pt x="1311" y="1102"/>
                </a:lnTo>
                <a:lnTo>
                  <a:pt x="1314" y="1105"/>
                </a:lnTo>
                <a:lnTo>
                  <a:pt x="1316" y="1107"/>
                </a:lnTo>
                <a:lnTo>
                  <a:pt x="1317" y="1110"/>
                </a:lnTo>
                <a:lnTo>
                  <a:pt x="1319" y="1111"/>
                </a:lnTo>
                <a:lnTo>
                  <a:pt x="1320" y="1113"/>
                </a:lnTo>
                <a:lnTo>
                  <a:pt x="1320" y="1116"/>
                </a:lnTo>
                <a:lnTo>
                  <a:pt x="1322" y="1118"/>
                </a:lnTo>
                <a:lnTo>
                  <a:pt x="1324" y="1119"/>
                </a:lnTo>
                <a:lnTo>
                  <a:pt x="1325" y="1122"/>
                </a:lnTo>
                <a:lnTo>
                  <a:pt x="1326" y="1124"/>
                </a:lnTo>
                <a:lnTo>
                  <a:pt x="1327" y="1127"/>
                </a:lnTo>
                <a:lnTo>
                  <a:pt x="1328" y="1130"/>
                </a:lnTo>
                <a:lnTo>
                  <a:pt x="1330" y="1132"/>
                </a:lnTo>
                <a:lnTo>
                  <a:pt x="1331" y="1136"/>
                </a:lnTo>
                <a:lnTo>
                  <a:pt x="1331" y="1138"/>
                </a:lnTo>
                <a:lnTo>
                  <a:pt x="1333" y="1143"/>
                </a:lnTo>
                <a:lnTo>
                  <a:pt x="1333" y="1145"/>
                </a:lnTo>
                <a:lnTo>
                  <a:pt x="1334" y="1146"/>
                </a:lnTo>
                <a:lnTo>
                  <a:pt x="1334" y="1147"/>
                </a:lnTo>
                <a:lnTo>
                  <a:pt x="1336" y="1150"/>
                </a:lnTo>
                <a:lnTo>
                  <a:pt x="1337" y="1153"/>
                </a:lnTo>
                <a:lnTo>
                  <a:pt x="1338" y="1158"/>
                </a:lnTo>
                <a:lnTo>
                  <a:pt x="1338" y="1161"/>
                </a:lnTo>
                <a:lnTo>
                  <a:pt x="1339" y="1163"/>
                </a:lnTo>
                <a:lnTo>
                  <a:pt x="1339" y="1166"/>
                </a:lnTo>
                <a:lnTo>
                  <a:pt x="1340" y="1169"/>
                </a:lnTo>
                <a:lnTo>
                  <a:pt x="1340" y="1172"/>
                </a:lnTo>
                <a:lnTo>
                  <a:pt x="1342" y="1175"/>
                </a:lnTo>
                <a:lnTo>
                  <a:pt x="1343" y="1183"/>
                </a:lnTo>
                <a:lnTo>
                  <a:pt x="1343" y="1186"/>
                </a:lnTo>
                <a:lnTo>
                  <a:pt x="1344" y="1193"/>
                </a:lnTo>
                <a:lnTo>
                  <a:pt x="1345" y="1204"/>
                </a:lnTo>
                <a:close/>
                <a:moveTo>
                  <a:pt x="835" y="1365"/>
                </a:moveTo>
                <a:lnTo>
                  <a:pt x="835" y="1332"/>
                </a:lnTo>
                <a:lnTo>
                  <a:pt x="832" y="1335"/>
                </a:lnTo>
                <a:lnTo>
                  <a:pt x="829" y="1339"/>
                </a:lnTo>
                <a:lnTo>
                  <a:pt x="820" y="1351"/>
                </a:lnTo>
                <a:lnTo>
                  <a:pt x="816" y="1352"/>
                </a:lnTo>
                <a:lnTo>
                  <a:pt x="813" y="1355"/>
                </a:lnTo>
                <a:lnTo>
                  <a:pt x="812" y="1356"/>
                </a:lnTo>
                <a:lnTo>
                  <a:pt x="810" y="1357"/>
                </a:lnTo>
                <a:lnTo>
                  <a:pt x="809" y="1357"/>
                </a:lnTo>
                <a:lnTo>
                  <a:pt x="804" y="1360"/>
                </a:lnTo>
                <a:lnTo>
                  <a:pt x="801" y="1361"/>
                </a:lnTo>
                <a:lnTo>
                  <a:pt x="798" y="1363"/>
                </a:lnTo>
                <a:lnTo>
                  <a:pt x="794" y="1365"/>
                </a:lnTo>
                <a:lnTo>
                  <a:pt x="789" y="1366"/>
                </a:lnTo>
                <a:lnTo>
                  <a:pt x="788" y="1366"/>
                </a:lnTo>
                <a:lnTo>
                  <a:pt x="784" y="1367"/>
                </a:lnTo>
                <a:lnTo>
                  <a:pt x="777" y="1368"/>
                </a:lnTo>
                <a:lnTo>
                  <a:pt x="769" y="1368"/>
                </a:lnTo>
                <a:lnTo>
                  <a:pt x="760" y="1368"/>
                </a:lnTo>
                <a:lnTo>
                  <a:pt x="753" y="1366"/>
                </a:lnTo>
                <a:lnTo>
                  <a:pt x="751" y="1366"/>
                </a:lnTo>
                <a:lnTo>
                  <a:pt x="748" y="1366"/>
                </a:lnTo>
                <a:lnTo>
                  <a:pt x="745" y="1365"/>
                </a:lnTo>
                <a:lnTo>
                  <a:pt x="740" y="1363"/>
                </a:lnTo>
                <a:lnTo>
                  <a:pt x="736" y="1361"/>
                </a:lnTo>
                <a:lnTo>
                  <a:pt x="731" y="1359"/>
                </a:lnTo>
                <a:lnTo>
                  <a:pt x="730" y="1357"/>
                </a:lnTo>
                <a:lnTo>
                  <a:pt x="728" y="1356"/>
                </a:lnTo>
                <a:lnTo>
                  <a:pt x="726" y="1355"/>
                </a:lnTo>
                <a:lnTo>
                  <a:pt x="725" y="1354"/>
                </a:lnTo>
                <a:lnTo>
                  <a:pt x="722" y="1350"/>
                </a:lnTo>
                <a:lnTo>
                  <a:pt x="719" y="1349"/>
                </a:lnTo>
                <a:lnTo>
                  <a:pt x="717" y="1348"/>
                </a:lnTo>
                <a:lnTo>
                  <a:pt x="713" y="1343"/>
                </a:lnTo>
                <a:lnTo>
                  <a:pt x="712" y="1340"/>
                </a:lnTo>
                <a:lnTo>
                  <a:pt x="711" y="1339"/>
                </a:lnTo>
                <a:lnTo>
                  <a:pt x="710" y="1337"/>
                </a:lnTo>
                <a:lnTo>
                  <a:pt x="708" y="1335"/>
                </a:lnTo>
                <a:lnTo>
                  <a:pt x="707" y="1332"/>
                </a:lnTo>
                <a:lnTo>
                  <a:pt x="706" y="1330"/>
                </a:lnTo>
                <a:lnTo>
                  <a:pt x="705" y="1327"/>
                </a:lnTo>
                <a:lnTo>
                  <a:pt x="703" y="1324"/>
                </a:lnTo>
                <a:lnTo>
                  <a:pt x="702" y="1322"/>
                </a:lnTo>
                <a:lnTo>
                  <a:pt x="702" y="1319"/>
                </a:lnTo>
                <a:lnTo>
                  <a:pt x="701" y="1318"/>
                </a:lnTo>
                <a:lnTo>
                  <a:pt x="701" y="1316"/>
                </a:lnTo>
                <a:lnTo>
                  <a:pt x="700" y="1313"/>
                </a:lnTo>
                <a:lnTo>
                  <a:pt x="699" y="1308"/>
                </a:lnTo>
                <a:lnTo>
                  <a:pt x="697" y="1302"/>
                </a:lnTo>
                <a:lnTo>
                  <a:pt x="697" y="1296"/>
                </a:lnTo>
                <a:lnTo>
                  <a:pt x="696" y="1289"/>
                </a:lnTo>
                <a:lnTo>
                  <a:pt x="696" y="1279"/>
                </a:lnTo>
                <a:lnTo>
                  <a:pt x="697" y="1274"/>
                </a:lnTo>
                <a:lnTo>
                  <a:pt x="697" y="1271"/>
                </a:lnTo>
                <a:lnTo>
                  <a:pt x="699" y="1267"/>
                </a:lnTo>
                <a:lnTo>
                  <a:pt x="699" y="1265"/>
                </a:lnTo>
                <a:lnTo>
                  <a:pt x="700" y="1263"/>
                </a:lnTo>
                <a:lnTo>
                  <a:pt x="700" y="1261"/>
                </a:lnTo>
                <a:lnTo>
                  <a:pt x="701" y="1257"/>
                </a:lnTo>
                <a:lnTo>
                  <a:pt x="702" y="1254"/>
                </a:lnTo>
                <a:lnTo>
                  <a:pt x="703" y="1251"/>
                </a:lnTo>
                <a:lnTo>
                  <a:pt x="706" y="1247"/>
                </a:lnTo>
                <a:lnTo>
                  <a:pt x="707" y="1243"/>
                </a:lnTo>
                <a:lnTo>
                  <a:pt x="712" y="1236"/>
                </a:lnTo>
                <a:lnTo>
                  <a:pt x="718" y="1230"/>
                </a:lnTo>
                <a:lnTo>
                  <a:pt x="723" y="1224"/>
                </a:lnTo>
                <a:lnTo>
                  <a:pt x="729" y="1219"/>
                </a:lnTo>
                <a:lnTo>
                  <a:pt x="742" y="1210"/>
                </a:lnTo>
                <a:lnTo>
                  <a:pt x="749" y="1206"/>
                </a:lnTo>
                <a:lnTo>
                  <a:pt x="757" y="1202"/>
                </a:lnTo>
                <a:lnTo>
                  <a:pt x="778" y="1195"/>
                </a:lnTo>
                <a:lnTo>
                  <a:pt x="781" y="1195"/>
                </a:lnTo>
                <a:lnTo>
                  <a:pt x="792" y="1193"/>
                </a:lnTo>
                <a:lnTo>
                  <a:pt x="798" y="1191"/>
                </a:lnTo>
                <a:lnTo>
                  <a:pt x="803" y="1190"/>
                </a:lnTo>
                <a:lnTo>
                  <a:pt x="810" y="1190"/>
                </a:lnTo>
                <a:lnTo>
                  <a:pt x="823" y="1186"/>
                </a:lnTo>
                <a:lnTo>
                  <a:pt x="827" y="1186"/>
                </a:lnTo>
                <a:lnTo>
                  <a:pt x="835" y="1185"/>
                </a:lnTo>
                <a:lnTo>
                  <a:pt x="835" y="1173"/>
                </a:lnTo>
                <a:lnTo>
                  <a:pt x="834" y="1163"/>
                </a:lnTo>
                <a:lnTo>
                  <a:pt x="834" y="1152"/>
                </a:lnTo>
                <a:lnTo>
                  <a:pt x="832" y="1144"/>
                </a:lnTo>
                <a:lnTo>
                  <a:pt x="830" y="1140"/>
                </a:lnTo>
                <a:lnTo>
                  <a:pt x="824" y="1127"/>
                </a:lnTo>
                <a:lnTo>
                  <a:pt x="823" y="1124"/>
                </a:lnTo>
                <a:lnTo>
                  <a:pt x="820" y="1122"/>
                </a:lnTo>
                <a:lnTo>
                  <a:pt x="818" y="1121"/>
                </a:lnTo>
                <a:lnTo>
                  <a:pt x="815" y="1117"/>
                </a:lnTo>
                <a:lnTo>
                  <a:pt x="813" y="1116"/>
                </a:lnTo>
                <a:lnTo>
                  <a:pt x="811" y="1116"/>
                </a:lnTo>
                <a:lnTo>
                  <a:pt x="809" y="1114"/>
                </a:lnTo>
                <a:lnTo>
                  <a:pt x="805" y="1112"/>
                </a:lnTo>
                <a:lnTo>
                  <a:pt x="799" y="1110"/>
                </a:lnTo>
                <a:lnTo>
                  <a:pt x="797" y="1110"/>
                </a:lnTo>
                <a:lnTo>
                  <a:pt x="793" y="1108"/>
                </a:lnTo>
                <a:lnTo>
                  <a:pt x="788" y="1107"/>
                </a:lnTo>
                <a:lnTo>
                  <a:pt x="778" y="1107"/>
                </a:lnTo>
                <a:lnTo>
                  <a:pt x="768" y="1108"/>
                </a:lnTo>
                <a:lnTo>
                  <a:pt x="764" y="1110"/>
                </a:lnTo>
                <a:lnTo>
                  <a:pt x="760" y="1112"/>
                </a:lnTo>
                <a:lnTo>
                  <a:pt x="759" y="1113"/>
                </a:lnTo>
                <a:lnTo>
                  <a:pt x="758" y="1114"/>
                </a:lnTo>
                <a:lnTo>
                  <a:pt x="754" y="1117"/>
                </a:lnTo>
                <a:lnTo>
                  <a:pt x="753" y="1118"/>
                </a:lnTo>
                <a:lnTo>
                  <a:pt x="752" y="1121"/>
                </a:lnTo>
                <a:lnTo>
                  <a:pt x="752" y="1123"/>
                </a:lnTo>
                <a:lnTo>
                  <a:pt x="751" y="1125"/>
                </a:lnTo>
                <a:lnTo>
                  <a:pt x="749" y="1129"/>
                </a:lnTo>
                <a:lnTo>
                  <a:pt x="748" y="1130"/>
                </a:lnTo>
                <a:lnTo>
                  <a:pt x="747" y="1134"/>
                </a:lnTo>
                <a:lnTo>
                  <a:pt x="746" y="1135"/>
                </a:lnTo>
                <a:lnTo>
                  <a:pt x="745" y="1138"/>
                </a:lnTo>
                <a:lnTo>
                  <a:pt x="743" y="1141"/>
                </a:lnTo>
                <a:lnTo>
                  <a:pt x="742" y="1145"/>
                </a:lnTo>
                <a:lnTo>
                  <a:pt x="741" y="1146"/>
                </a:lnTo>
                <a:lnTo>
                  <a:pt x="740" y="1149"/>
                </a:lnTo>
                <a:lnTo>
                  <a:pt x="737" y="1155"/>
                </a:lnTo>
                <a:lnTo>
                  <a:pt x="736" y="1157"/>
                </a:lnTo>
                <a:lnTo>
                  <a:pt x="735" y="1158"/>
                </a:lnTo>
                <a:lnTo>
                  <a:pt x="732" y="1161"/>
                </a:lnTo>
                <a:lnTo>
                  <a:pt x="730" y="1162"/>
                </a:lnTo>
                <a:lnTo>
                  <a:pt x="725" y="1164"/>
                </a:lnTo>
                <a:lnTo>
                  <a:pt x="722" y="1164"/>
                </a:lnTo>
                <a:lnTo>
                  <a:pt x="719" y="1164"/>
                </a:lnTo>
                <a:lnTo>
                  <a:pt x="718" y="1163"/>
                </a:lnTo>
                <a:lnTo>
                  <a:pt x="716" y="1162"/>
                </a:lnTo>
                <a:lnTo>
                  <a:pt x="713" y="1160"/>
                </a:lnTo>
                <a:lnTo>
                  <a:pt x="711" y="1155"/>
                </a:lnTo>
                <a:lnTo>
                  <a:pt x="710" y="1151"/>
                </a:lnTo>
                <a:lnTo>
                  <a:pt x="711" y="1146"/>
                </a:lnTo>
                <a:lnTo>
                  <a:pt x="712" y="1140"/>
                </a:lnTo>
                <a:lnTo>
                  <a:pt x="712" y="1134"/>
                </a:lnTo>
                <a:lnTo>
                  <a:pt x="713" y="1132"/>
                </a:lnTo>
                <a:lnTo>
                  <a:pt x="713" y="1129"/>
                </a:lnTo>
                <a:lnTo>
                  <a:pt x="714" y="1125"/>
                </a:lnTo>
                <a:lnTo>
                  <a:pt x="714" y="1123"/>
                </a:lnTo>
                <a:lnTo>
                  <a:pt x="716" y="1121"/>
                </a:lnTo>
                <a:lnTo>
                  <a:pt x="716" y="1117"/>
                </a:lnTo>
                <a:lnTo>
                  <a:pt x="717" y="1116"/>
                </a:lnTo>
                <a:lnTo>
                  <a:pt x="717" y="1112"/>
                </a:lnTo>
                <a:lnTo>
                  <a:pt x="718" y="1110"/>
                </a:lnTo>
                <a:lnTo>
                  <a:pt x="718" y="1107"/>
                </a:lnTo>
                <a:lnTo>
                  <a:pt x="719" y="1103"/>
                </a:lnTo>
                <a:lnTo>
                  <a:pt x="720" y="1096"/>
                </a:lnTo>
                <a:lnTo>
                  <a:pt x="723" y="1084"/>
                </a:lnTo>
                <a:lnTo>
                  <a:pt x="746" y="1077"/>
                </a:lnTo>
                <a:lnTo>
                  <a:pt x="769" y="1073"/>
                </a:lnTo>
                <a:lnTo>
                  <a:pt x="777" y="1073"/>
                </a:lnTo>
                <a:lnTo>
                  <a:pt x="794" y="1073"/>
                </a:lnTo>
                <a:lnTo>
                  <a:pt x="807" y="1074"/>
                </a:lnTo>
                <a:lnTo>
                  <a:pt x="811" y="1075"/>
                </a:lnTo>
                <a:lnTo>
                  <a:pt x="812" y="1077"/>
                </a:lnTo>
                <a:lnTo>
                  <a:pt x="815" y="1077"/>
                </a:lnTo>
                <a:lnTo>
                  <a:pt x="816" y="1078"/>
                </a:lnTo>
                <a:lnTo>
                  <a:pt x="820" y="1079"/>
                </a:lnTo>
                <a:lnTo>
                  <a:pt x="823" y="1080"/>
                </a:lnTo>
                <a:lnTo>
                  <a:pt x="826" y="1081"/>
                </a:lnTo>
                <a:lnTo>
                  <a:pt x="828" y="1083"/>
                </a:lnTo>
                <a:lnTo>
                  <a:pt x="830" y="1084"/>
                </a:lnTo>
                <a:lnTo>
                  <a:pt x="833" y="1085"/>
                </a:lnTo>
                <a:lnTo>
                  <a:pt x="836" y="1088"/>
                </a:lnTo>
                <a:lnTo>
                  <a:pt x="838" y="1088"/>
                </a:lnTo>
                <a:lnTo>
                  <a:pt x="839" y="1089"/>
                </a:lnTo>
                <a:lnTo>
                  <a:pt x="841" y="1091"/>
                </a:lnTo>
                <a:lnTo>
                  <a:pt x="844" y="1094"/>
                </a:lnTo>
                <a:lnTo>
                  <a:pt x="849" y="1097"/>
                </a:lnTo>
                <a:lnTo>
                  <a:pt x="852" y="1101"/>
                </a:lnTo>
                <a:lnTo>
                  <a:pt x="856" y="1106"/>
                </a:lnTo>
                <a:lnTo>
                  <a:pt x="859" y="1111"/>
                </a:lnTo>
                <a:lnTo>
                  <a:pt x="865" y="1122"/>
                </a:lnTo>
                <a:lnTo>
                  <a:pt x="870" y="1133"/>
                </a:lnTo>
                <a:lnTo>
                  <a:pt x="870" y="1135"/>
                </a:lnTo>
                <a:lnTo>
                  <a:pt x="873" y="1140"/>
                </a:lnTo>
                <a:lnTo>
                  <a:pt x="873" y="1145"/>
                </a:lnTo>
                <a:lnTo>
                  <a:pt x="874" y="1156"/>
                </a:lnTo>
                <a:lnTo>
                  <a:pt x="875" y="1167"/>
                </a:lnTo>
                <a:lnTo>
                  <a:pt x="875" y="1179"/>
                </a:lnTo>
                <a:lnTo>
                  <a:pt x="875" y="1249"/>
                </a:lnTo>
                <a:lnTo>
                  <a:pt x="875" y="1304"/>
                </a:lnTo>
                <a:lnTo>
                  <a:pt x="874" y="1316"/>
                </a:lnTo>
                <a:lnTo>
                  <a:pt x="875" y="1322"/>
                </a:lnTo>
                <a:lnTo>
                  <a:pt x="876" y="1327"/>
                </a:lnTo>
                <a:lnTo>
                  <a:pt x="878" y="1328"/>
                </a:lnTo>
                <a:lnTo>
                  <a:pt x="881" y="1332"/>
                </a:lnTo>
                <a:lnTo>
                  <a:pt x="884" y="1332"/>
                </a:lnTo>
                <a:lnTo>
                  <a:pt x="885" y="1332"/>
                </a:lnTo>
                <a:lnTo>
                  <a:pt x="887" y="1333"/>
                </a:lnTo>
                <a:lnTo>
                  <a:pt x="888" y="1333"/>
                </a:lnTo>
                <a:lnTo>
                  <a:pt x="891" y="1334"/>
                </a:lnTo>
                <a:lnTo>
                  <a:pt x="893" y="1334"/>
                </a:lnTo>
                <a:lnTo>
                  <a:pt x="894" y="1335"/>
                </a:lnTo>
                <a:lnTo>
                  <a:pt x="896" y="1335"/>
                </a:lnTo>
                <a:lnTo>
                  <a:pt x="898" y="1337"/>
                </a:lnTo>
                <a:lnTo>
                  <a:pt x="899" y="1337"/>
                </a:lnTo>
                <a:lnTo>
                  <a:pt x="902" y="1337"/>
                </a:lnTo>
                <a:lnTo>
                  <a:pt x="904" y="1338"/>
                </a:lnTo>
                <a:lnTo>
                  <a:pt x="908" y="1339"/>
                </a:lnTo>
                <a:lnTo>
                  <a:pt x="910" y="1340"/>
                </a:lnTo>
                <a:lnTo>
                  <a:pt x="915" y="1344"/>
                </a:lnTo>
                <a:lnTo>
                  <a:pt x="915" y="1345"/>
                </a:lnTo>
                <a:lnTo>
                  <a:pt x="916" y="1346"/>
                </a:lnTo>
                <a:lnTo>
                  <a:pt x="916" y="1350"/>
                </a:lnTo>
                <a:lnTo>
                  <a:pt x="916" y="1354"/>
                </a:lnTo>
                <a:lnTo>
                  <a:pt x="916" y="1356"/>
                </a:lnTo>
                <a:lnTo>
                  <a:pt x="915" y="1359"/>
                </a:lnTo>
                <a:lnTo>
                  <a:pt x="913" y="1361"/>
                </a:lnTo>
                <a:lnTo>
                  <a:pt x="911" y="1362"/>
                </a:lnTo>
                <a:lnTo>
                  <a:pt x="907" y="1363"/>
                </a:lnTo>
                <a:lnTo>
                  <a:pt x="900" y="1365"/>
                </a:lnTo>
                <a:lnTo>
                  <a:pt x="888" y="1365"/>
                </a:lnTo>
                <a:lnTo>
                  <a:pt x="835" y="1365"/>
                </a:lnTo>
                <a:close/>
                <a:moveTo>
                  <a:pt x="2943" y="1329"/>
                </a:moveTo>
                <a:lnTo>
                  <a:pt x="2944" y="1327"/>
                </a:lnTo>
                <a:lnTo>
                  <a:pt x="2944" y="1324"/>
                </a:lnTo>
                <a:lnTo>
                  <a:pt x="2944" y="1278"/>
                </a:lnTo>
                <a:lnTo>
                  <a:pt x="2944" y="1190"/>
                </a:lnTo>
                <a:lnTo>
                  <a:pt x="2946" y="1174"/>
                </a:lnTo>
                <a:lnTo>
                  <a:pt x="2944" y="1158"/>
                </a:lnTo>
                <a:lnTo>
                  <a:pt x="2944" y="1151"/>
                </a:lnTo>
                <a:lnTo>
                  <a:pt x="2943" y="1145"/>
                </a:lnTo>
                <a:lnTo>
                  <a:pt x="2942" y="1141"/>
                </a:lnTo>
                <a:lnTo>
                  <a:pt x="2942" y="1139"/>
                </a:lnTo>
                <a:lnTo>
                  <a:pt x="2940" y="1133"/>
                </a:lnTo>
                <a:lnTo>
                  <a:pt x="2938" y="1132"/>
                </a:lnTo>
                <a:lnTo>
                  <a:pt x="2937" y="1130"/>
                </a:lnTo>
                <a:lnTo>
                  <a:pt x="2934" y="1127"/>
                </a:lnTo>
                <a:lnTo>
                  <a:pt x="2929" y="1122"/>
                </a:lnTo>
                <a:lnTo>
                  <a:pt x="2926" y="1121"/>
                </a:lnTo>
                <a:lnTo>
                  <a:pt x="2925" y="1119"/>
                </a:lnTo>
                <a:lnTo>
                  <a:pt x="2921" y="1118"/>
                </a:lnTo>
                <a:lnTo>
                  <a:pt x="2918" y="1117"/>
                </a:lnTo>
                <a:lnTo>
                  <a:pt x="2906" y="1112"/>
                </a:lnTo>
                <a:lnTo>
                  <a:pt x="2896" y="1112"/>
                </a:lnTo>
                <a:lnTo>
                  <a:pt x="2889" y="1112"/>
                </a:lnTo>
                <a:lnTo>
                  <a:pt x="2883" y="1113"/>
                </a:lnTo>
                <a:lnTo>
                  <a:pt x="2877" y="1116"/>
                </a:lnTo>
                <a:lnTo>
                  <a:pt x="2872" y="1117"/>
                </a:lnTo>
                <a:lnTo>
                  <a:pt x="2869" y="1117"/>
                </a:lnTo>
                <a:lnTo>
                  <a:pt x="2867" y="1119"/>
                </a:lnTo>
                <a:lnTo>
                  <a:pt x="2862" y="1122"/>
                </a:lnTo>
                <a:lnTo>
                  <a:pt x="2860" y="1123"/>
                </a:lnTo>
                <a:lnTo>
                  <a:pt x="2859" y="1124"/>
                </a:lnTo>
                <a:lnTo>
                  <a:pt x="2856" y="1125"/>
                </a:lnTo>
                <a:lnTo>
                  <a:pt x="2855" y="1127"/>
                </a:lnTo>
                <a:lnTo>
                  <a:pt x="2851" y="1132"/>
                </a:lnTo>
                <a:lnTo>
                  <a:pt x="2845" y="1135"/>
                </a:lnTo>
                <a:lnTo>
                  <a:pt x="2839" y="1147"/>
                </a:lnTo>
                <a:lnTo>
                  <a:pt x="2836" y="1153"/>
                </a:lnTo>
                <a:lnTo>
                  <a:pt x="2833" y="1160"/>
                </a:lnTo>
                <a:lnTo>
                  <a:pt x="2831" y="1175"/>
                </a:lnTo>
                <a:lnTo>
                  <a:pt x="2831" y="1183"/>
                </a:lnTo>
                <a:lnTo>
                  <a:pt x="2830" y="1189"/>
                </a:lnTo>
                <a:lnTo>
                  <a:pt x="2830" y="1194"/>
                </a:lnTo>
                <a:lnTo>
                  <a:pt x="2830" y="1206"/>
                </a:lnTo>
                <a:lnTo>
                  <a:pt x="2830" y="1254"/>
                </a:lnTo>
                <a:lnTo>
                  <a:pt x="2830" y="1304"/>
                </a:lnTo>
                <a:lnTo>
                  <a:pt x="2830" y="1317"/>
                </a:lnTo>
                <a:lnTo>
                  <a:pt x="2831" y="1323"/>
                </a:lnTo>
                <a:lnTo>
                  <a:pt x="2832" y="1328"/>
                </a:lnTo>
                <a:lnTo>
                  <a:pt x="2837" y="1332"/>
                </a:lnTo>
                <a:lnTo>
                  <a:pt x="2838" y="1332"/>
                </a:lnTo>
                <a:lnTo>
                  <a:pt x="2843" y="1333"/>
                </a:lnTo>
                <a:lnTo>
                  <a:pt x="2846" y="1334"/>
                </a:lnTo>
                <a:lnTo>
                  <a:pt x="2853" y="1337"/>
                </a:lnTo>
                <a:lnTo>
                  <a:pt x="2859" y="1339"/>
                </a:lnTo>
                <a:lnTo>
                  <a:pt x="2862" y="1340"/>
                </a:lnTo>
                <a:lnTo>
                  <a:pt x="2865" y="1341"/>
                </a:lnTo>
                <a:lnTo>
                  <a:pt x="2868" y="1343"/>
                </a:lnTo>
                <a:lnTo>
                  <a:pt x="2871" y="1345"/>
                </a:lnTo>
                <a:lnTo>
                  <a:pt x="2872" y="1346"/>
                </a:lnTo>
                <a:lnTo>
                  <a:pt x="2872" y="1349"/>
                </a:lnTo>
                <a:lnTo>
                  <a:pt x="2873" y="1351"/>
                </a:lnTo>
                <a:lnTo>
                  <a:pt x="2873" y="1355"/>
                </a:lnTo>
                <a:lnTo>
                  <a:pt x="2872" y="1357"/>
                </a:lnTo>
                <a:lnTo>
                  <a:pt x="2871" y="1360"/>
                </a:lnTo>
                <a:lnTo>
                  <a:pt x="2869" y="1361"/>
                </a:lnTo>
                <a:lnTo>
                  <a:pt x="2868" y="1362"/>
                </a:lnTo>
                <a:lnTo>
                  <a:pt x="2865" y="1363"/>
                </a:lnTo>
                <a:lnTo>
                  <a:pt x="2862" y="1363"/>
                </a:lnTo>
                <a:lnTo>
                  <a:pt x="2775" y="1365"/>
                </a:lnTo>
                <a:lnTo>
                  <a:pt x="2767" y="1365"/>
                </a:lnTo>
                <a:lnTo>
                  <a:pt x="2759" y="1363"/>
                </a:lnTo>
                <a:lnTo>
                  <a:pt x="2756" y="1363"/>
                </a:lnTo>
                <a:lnTo>
                  <a:pt x="2752" y="1362"/>
                </a:lnTo>
                <a:lnTo>
                  <a:pt x="2750" y="1360"/>
                </a:lnTo>
                <a:lnTo>
                  <a:pt x="2750" y="1359"/>
                </a:lnTo>
                <a:lnTo>
                  <a:pt x="2749" y="1357"/>
                </a:lnTo>
                <a:lnTo>
                  <a:pt x="2747" y="1354"/>
                </a:lnTo>
                <a:lnTo>
                  <a:pt x="2747" y="1350"/>
                </a:lnTo>
                <a:lnTo>
                  <a:pt x="2750" y="1345"/>
                </a:lnTo>
                <a:lnTo>
                  <a:pt x="2752" y="1344"/>
                </a:lnTo>
                <a:lnTo>
                  <a:pt x="2753" y="1341"/>
                </a:lnTo>
                <a:lnTo>
                  <a:pt x="2755" y="1341"/>
                </a:lnTo>
                <a:lnTo>
                  <a:pt x="2757" y="1341"/>
                </a:lnTo>
                <a:lnTo>
                  <a:pt x="2759" y="1340"/>
                </a:lnTo>
                <a:lnTo>
                  <a:pt x="2763" y="1339"/>
                </a:lnTo>
                <a:lnTo>
                  <a:pt x="2768" y="1337"/>
                </a:lnTo>
                <a:lnTo>
                  <a:pt x="2772" y="1337"/>
                </a:lnTo>
                <a:lnTo>
                  <a:pt x="2778" y="1334"/>
                </a:lnTo>
                <a:lnTo>
                  <a:pt x="2781" y="1333"/>
                </a:lnTo>
                <a:lnTo>
                  <a:pt x="2782" y="1332"/>
                </a:lnTo>
                <a:lnTo>
                  <a:pt x="2786" y="1330"/>
                </a:lnTo>
                <a:lnTo>
                  <a:pt x="2787" y="1329"/>
                </a:lnTo>
                <a:lnTo>
                  <a:pt x="2788" y="1327"/>
                </a:lnTo>
                <a:lnTo>
                  <a:pt x="2790" y="1324"/>
                </a:lnTo>
                <a:lnTo>
                  <a:pt x="2790" y="1321"/>
                </a:lnTo>
                <a:lnTo>
                  <a:pt x="2790" y="1313"/>
                </a:lnTo>
                <a:lnTo>
                  <a:pt x="2790" y="1276"/>
                </a:lnTo>
                <a:lnTo>
                  <a:pt x="2790" y="1169"/>
                </a:lnTo>
                <a:lnTo>
                  <a:pt x="2790" y="1135"/>
                </a:lnTo>
                <a:lnTo>
                  <a:pt x="2790" y="1125"/>
                </a:lnTo>
                <a:lnTo>
                  <a:pt x="2790" y="1116"/>
                </a:lnTo>
                <a:lnTo>
                  <a:pt x="2780" y="1114"/>
                </a:lnTo>
                <a:lnTo>
                  <a:pt x="2770" y="1114"/>
                </a:lnTo>
                <a:lnTo>
                  <a:pt x="2762" y="1114"/>
                </a:lnTo>
                <a:lnTo>
                  <a:pt x="2757" y="1114"/>
                </a:lnTo>
                <a:lnTo>
                  <a:pt x="2752" y="1114"/>
                </a:lnTo>
                <a:lnTo>
                  <a:pt x="2751" y="1112"/>
                </a:lnTo>
                <a:lnTo>
                  <a:pt x="2750" y="1110"/>
                </a:lnTo>
                <a:lnTo>
                  <a:pt x="2749" y="1107"/>
                </a:lnTo>
                <a:lnTo>
                  <a:pt x="2749" y="1105"/>
                </a:lnTo>
                <a:lnTo>
                  <a:pt x="2750" y="1100"/>
                </a:lnTo>
                <a:lnTo>
                  <a:pt x="2751" y="1099"/>
                </a:lnTo>
                <a:lnTo>
                  <a:pt x="2752" y="1097"/>
                </a:lnTo>
                <a:lnTo>
                  <a:pt x="2755" y="1096"/>
                </a:lnTo>
                <a:lnTo>
                  <a:pt x="2756" y="1095"/>
                </a:lnTo>
                <a:lnTo>
                  <a:pt x="2758" y="1094"/>
                </a:lnTo>
                <a:lnTo>
                  <a:pt x="2761" y="1092"/>
                </a:lnTo>
                <a:lnTo>
                  <a:pt x="2763" y="1091"/>
                </a:lnTo>
                <a:lnTo>
                  <a:pt x="2764" y="1090"/>
                </a:lnTo>
                <a:lnTo>
                  <a:pt x="2767" y="1089"/>
                </a:lnTo>
                <a:lnTo>
                  <a:pt x="2769" y="1088"/>
                </a:lnTo>
                <a:lnTo>
                  <a:pt x="2770" y="1086"/>
                </a:lnTo>
                <a:lnTo>
                  <a:pt x="2773" y="1086"/>
                </a:lnTo>
                <a:lnTo>
                  <a:pt x="2775" y="1085"/>
                </a:lnTo>
                <a:lnTo>
                  <a:pt x="2778" y="1083"/>
                </a:lnTo>
                <a:lnTo>
                  <a:pt x="2780" y="1083"/>
                </a:lnTo>
                <a:lnTo>
                  <a:pt x="2781" y="1081"/>
                </a:lnTo>
                <a:lnTo>
                  <a:pt x="2784" y="1079"/>
                </a:lnTo>
                <a:lnTo>
                  <a:pt x="2786" y="1079"/>
                </a:lnTo>
                <a:lnTo>
                  <a:pt x="2788" y="1078"/>
                </a:lnTo>
                <a:lnTo>
                  <a:pt x="2790" y="1075"/>
                </a:lnTo>
                <a:lnTo>
                  <a:pt x="2792" y="1075"/>
                </a:lnTo>
                <a:lnTo>
                  <a:pt x="2795" y="1074"/>
                </a:lnTo>
                <a:lnTo>
                  <a:pt x="2796" y="1073"/>
                </a:lnTo>
                <a:lnTo>
                  <a:pt x="2798" y="1072"/>
                </a:lnTo>
                <a:lnTo>
                  <a:pt x="2801" y="1071"/>
                </a:lnTo>
                <a:lnTo>
                  <a:pt x="2803" y="1069"/>
                </a:lnTo>
                <a:lnTo>
                  <a:pt x="2807" y="1068"/>
                </a:lnTo>
                <a:lnTo>
                  <a:pt x="2809" y="1067"/>
                </a:lnTo>
                <a:lnTo>
                  <a:pt x="2817" y="1062"/>
                </a:lnTo>
                <a:lnTo>
                  <a:pt x="2820" y="1062"/>
                </a:lnTo>
                <a:lnTo>
                  <a:pt x="2822" y="1062"/>
                </a:lnTo>
                <a:lnTo>
                  <a:pt x="2826" y="1063"/>
                </a:lnTo>
                <a:lnTo>
                  <a:pt x="2827" y="1066"/>
                </a:lnTo>
                <a:lnTo>
                  <a:pt x="2828" y="1068"/>
                </a:lnTo>
                <a:lnTo>
                  <a:pt x="2830" y="1071"/>
                </a:lnTo>
                <a:lnTo>
                  <a:pt x="2830" y="1117"/>
                </a:lnTo>
                <a:lnTo>
                  <a:pt x="2831" y="1113"/>
                </a:lnTo>
                <a:lnTo>
                  <a:pt x="2832" y="1112"/>
                </a:lnTo>
                <a:lnTo>
                  <a:pt x="2834" y="1108"/>
                </a:lnTo>
                <a:lnTo>
                  <a:pt x="2836" y="1106"/>
                </a:lnTo>
                <a:lnTo>
                  <a:pt x="2837" y="1105"/>
                </a:lnTo>
                <a:lnTo>
                  <a:pt x="2838" y="1103"/>
                </a:lnTo>
                <a:lnTo>
                  <a:pt x="2840" y="1101"/>
                </a:lnTo>
                <a:lnTo>
                  <a:pt x="2844" y="1096"/>
                </a:lnTo>
                <a:lnTo>
                  <a:pt x="2848" y="1091"/>
                </a:lnTo>
                <a:lnTo>
                  <a:pt x="2851" y="1089"/>
                </a:lnTo>
                <a:lnTo>
                  <a:pt x="2854" y="1088"/>
                </a:lnTo>
                <a:lnTo>
                  <a:pt x="2855" y="1086"/>
                </a:lnTo>
                <a:lnTo>
                  <a:pt x="2857" y="1085"/>
                </a:lnTo>
                <a:lnTo>
                  <a:pt x="2859" y="1084"/>
                </a:lnTo>
                <a:lnTo>
                  <a:pt x="2861" y="1083"/>
                </a:lnTo>
                <a:lnTo>
                  <a:pt x="2863" y="1081"/>
                </a:lnTo>
                <a:lnTo>
                  <a:pt x="2866" y="1080"/>
                </a:lnTo>
                <a:lnTo>
                  <a:pt x="2867" y="1080"/>
                </a:lnTo>
                <a:lnTo>
                  <a:pt x="2869" y="1079"/>
                </a:lnTo>
                <a:lnTo>
                  <a:pt x="2871" y="1078"/>
                </a:lnTo>
                <a:lnTo>
                  <a:pt x="2874" y="1077"/>
                </a:lnTo>
                <a:lnTo>
                  <a:pt x="2876" y="1077"/>
                </a:lnTo>
                <a:lnTo>
                  <a:pt x="2878" y="1075"/>
                </a:lnTo>
                <a:lnTo>
                  <a:pt x="2882" y="1074"/>
                </a:lnTo>
                <a:lnTo>
                  <a:pt x="2884" y="1074"/>
                </a:lnTo>
                <a:lnTo>
                  <a:pt x="2888" y="1073"/>
                </a:lnTo>
                <a:lnTo>
                  <a:pt x="2891" y="1073"/>
                </a:lnTo>
                <a:lnTo>
                  <a:pt x="2906" y="1072"/>
                </a:lnTo>
                <a:lnTo>
                  <a:pt x="2913" y="1073"/>
                </a:lnTo>
                <a:lnTo>
                  <a:pt x="2929" y="1075"/>
                </a:lnTo>
                <a:lnTo>
                  <a:pt x="2930" y="1075"/>
                </a:lnTo>
                <a:lnTo>
                  <a:pt x="2932" y="1077"/>
                </a:lnTo>
                <a:lnTo>
                  <a:pt x="2934" y="1077"/>
                </a:lnTo>
                <a:lnTo>
                  <a:pt x="2937" y="1078"/>
                </a:lnTo>
                <a:lnTo>
                  <a:pt x="2941" y="1079"/>
                </a:lnTo>
                <a:lnTo>
                  <a:pt x="2942" y="1080"/>
                </a:lnTo>
                <a:lnTo>
                  <a:pt x="2946" y="1081"/>
                </a:lnTo>
                <a:lnTo>
                  <a:pt x="2949" y="1084"/>
                </a:lnTo>
                <a:lnTo>
                  <a:pt x="2953" y="1086"/>
                </a:lnTo>
                <a:lnTo>
                  <a:pt x="2954" y="1088"/>
                </a:lnTo>
                <a:lnTo>
                  <a:pt x="2955" y="1088"/>
                </a:lnTo>
                <a:lnTo>
                  <a:pt x="2958" y="1090"/>
                </a:lnTo>
                <a:lnTo>
                  <a:pt x="2961" y="1094"/>
                </a:lnTo>
                <a:lnTo>
                  <a:pt x="2966" y="1097"/>
                </a:lnTo>
                <a:lnTo>
                  <a:pt x="2967" y="1100"/>
                </a:lnTo>
                <a:lnTo>
                  <a:pt x="2970" y="1102"/>
                </a:lnTo>
                <a:lnTo>
                  <a:pt x="2971" y="1103"/>
                </a:lnTo>
                <a:lnTo>
                  <a:pt x="2972" y="1106"/>
                </a:lnTo>
                <a:lnTo>
                  <a:pt x="2973" y="1107"/>
                </a:lnTo>
                <a:lnTo>
                  <a:pt x="2975" y="1110"/>
                </a:lnTo>
                <a:lnTo>
                  <a:pt x="2976" y="1112"/>
                </a:lnTo>
                <a:lnTo>
                  <a:pt x="2977" y="1114"/>
                </a:lnTo>
                <a:lnTo>
                  <a:pt x="2978" y="1117"/>
                </a:lnTo>
                <a:lnTo>
                  <a:pt x="2979" y="1119"/>
                </a:lnTo>
                <a:lnTo>
                  <a:pt x="2981" y="1122"/>
                </a:lnTo>
                <a:lnTo>
                  <a:pt x="2981" y="1124"/>
                </a:lnTo>
                <a:lnTo>
                  <a:pt x="2982" y="1128"/>
                </a:lnTo>
                <a:lnTo>
                  <a:pt x="2983" y="1130"/>
                </a:lnTo>
                <a:lnTo>
                  <a:pt x="2983" y="1133"/>
                </a:lnTo>
                <a:lnTo>
                  <a:pt x="2984" y="1136"/>
                </a:lnTo>
                <a:lnTo>
                  <a:pt x="2984" y="1143"/>
                </a:lnTo>
                <a:lnTo>
                  <a:pt x="2985" y="1149"/>
                </a:lnTo>
                <a:lnTo>
                  <a:pt x="2984" y="1155"/>
                </a:lnTo>
                <a:lnTo>
                  <a:pt x="2984" y="1179"/>
                </a:lnTo>
                <a:lnTo>
                  <a:pt x="2984" y="1276"/>
                </a:lnTo>
                <a:lnTo>
                  <a:pt x="2984" y="1324"/>
                </a:lnTo>
                <a:lnTo>
                  <a:pt x="2985" y="1328"/>
                </a:lnTo>
                <a:lnTo>
                  <a:pt x="2989" y="1330"/>
                </a:lnTo>
                <a:lnTo>
                  <a:pt x="2992" y="1330"/>
                </a:lnTo>
                <a:lnTo>
                  <a:pt x="2996" y="1333"/>
                </a:lnTo>
                <a:lnTo>
                  <a:pt x="2999" y="1334"/>
                </a:lnTo>
                <a:lnTo>
                  <a:pt x="3004" y="1335"/>
                </a:lnTo>
                <a:lnTo>
                  <a:pt x="3006" y="1337"/>
                </a:lnTo>
                <a:lnTo>
                  <a:pt x="3008" y="1337"/>
                </a:lnTo>
                <a:lnTo>
                  <a:pt x="3013" y="1339"/>
                </a:lnTo>
                <a:lnTo>
                  <a:pt x="3017" y="1340"/>
                </a:lnTo>
                <a:lnTo>
                  <a:pt x="3019" y="1341"/>
                </a:lnTo>
                <a:lnTo>
                  <a:pt x="3023" y="1343"/>
                </a:lnTo>
                <a:lnTo>
                  <a:pt x="3024" y="1345"/>
                </a:lnTo>
                <a:lnTo>
                  <a:pt x="3027" y="1348"/>
                </a:lnTo>
                <a:lnTo>
                  <a:pt x="3027" y="1349"/>
                </a:lnTo>
                <a:lnTo>
                  <a:pt x="3028" y="1352"/>
                </a:lnTo>
                <a:lnTo>
                  <a:pt x="3027" y="1359"/>
                </a:lnTo>
                <a:lnTo>
                  <a:pt x="3023" y="1361"/>
                </a:lnTo>
                <a:lnTo>
                  <a:pt x="3019" y="1363"/>
                </a:lnTo>
                <a:lnTo>
                  <a:pt x="3017" y="1363"/>
                </a:lnTo>
                <a:lnTo>
                  <a:pt x="3012" y="1365"/>
                </a:lnTo>
                <a:lnTo>
                  <a:pt x="3006" y="1365"/>
                </a:lnTo>
                <a:lnTo>
                  <a:pt x="2994" y="1365"/>
                </a:lnTo>
                <a:lnTo>
                  <a:pt x="2934" y="1365"/>
                </a:lnTo>
                <a:lnTo>
                  <a:pt x="2925" y="1365"/>
                </a:lnTo>
                <a:lnTo>
                  <a:pt x="2915" y="1363"/>
                </a:lnTo>
                <a:lnTo>
                  <a:pt x="2912" y="1363"/>
                </a:lnTo>
                <a:lnTo>
                  <a:pt x="2908" y="1362"/>
                </a:lnTo>
                <a:lnTo>
                  <a:pt x="2906" y="1360"/>
                </a:lnTo>
                <a:lnTo>
                  <a:pt x="2903" y="1357"/>
                </a:lnTo>
                <a:lnTo>
                  <a:pt x="2902" y="1355"/>
                </a:lnTo>
                <a:lnTo>
                  <a:pt x="2902" y="1352"/>
                </a:lnTo>
                <a:lnTo>
                  <a:pt x="2903" y="1346"/>
                </a:lnTo>
                <a:lnTo>
                  <a:pt x="2907" y="1343"/>
                </a:lnTo>
                <a:lnTo>
                  <a:pt x="2911" y="1341"/>
                </a:lnTo>
                <a:lnTo>
                  <a:pt x="2914" y="1340"/>
                </a:lnTo>
                <a:lnTo>
                  <a:pt x="2917" y="1339"/>
                </a:lnTo>
                <a:lnTo>
                  <a:pt x="2919" y="1338"/>
                </a:lnTo>
                <a:lnTo>
                  <a:pt x="2925" y="1337"/>
                </a:lnTo>
                <a:lnTo>
                  <a:pt x="2931" y="1334"/>
                </a:lnTo>
                <a:lnTo>
                  <a:pt x="2937" y="1332"/>
                </a:lnTo>
                <a:lnTo>
                  <a:pt x="2941" y="1330"/>
                </a:lnTo>
                <a:lnTo>
                  <a:pt x="2943" y="1329"/>
                </a:lnTo>
                <a:close/>
                <a:moveTo>
                  <a:pt x="649" y="1073"/>
                </a:moveTo>
                <a:lnTo>
                  <a:pt x="649" y="1090"/>
                </a:lnTo>
                <a:lnTo>
                  <a:pt x="650" y="1101"/>
                </a:lnTo>
                <a:lnTo>
                  <a:pt x="650" y="1107"/>
                </a:lnTo>
                <a:lnTo>
                  <a:pt x="651" y="1121"/>
                </a:lnTo>
                <a:lnTo>
                  <a:pt x="651" y="1128"/>
                </a:lnTo>
                <a:lnTo>
                  <a:pt x="653" y="1140"/>
                </a:lnTo>
                <a:lnTo>
                  <a:pt x="653" y="1149"/>
                </a:lnTo>
                <a:lnTo>
                  <a:pt x="653" y="1151"/>
                </a:lnTo>
                <a:lnTo>
                  <a:pt x="653" y="1153"/>
                </a:lnTo>
                <a:lnTo>
                  <a:pt x="651" y="1157"/>
                </a:lnTo>
                <a:lnTo>
                  <a:pt x="650" y="1160"/>
                </a:lnTo>
                <a:lnTo>
                  <a:pt x="649" y="1161"/>
                </a:lnTo>
                <a:lnTo>
                  <a:pt x="647" y="1164"/>
                </a:lnTo>
                <a:lnTo>
                  <a:pt x="645" y="1166"/>
                </a:lnTo>
                <a:lnTo>
                  <a:pt x="643" y="1166"/>
                </a:lnTo>
                <a:lnTo>
                  <a:pt x="642" y="1166"/>
                </a:lnTo>
                <a:lnTo>
                  <a:pt x="641" y="1167"/>
                </a:lnTo>
                <a:lnTo>
                  <a:pt x="637" y="1167"/>
                </a:lnTo>
                <a:lnTo>
                  <a:pt x="635" y="1166"/>
                </a:lnTo>
                <a:lnTo>
                  <a:pt x="632" y="1164"/>
                </a:lnTo>
                <a:lnTo>
                  <a:pt x="629" y="1161"/>
                </a:lnTo>
                <a:lnTo>
                  <a:pt x="626" y="1160"/>
                </a:lnTo>
                <a:lnTo>
                  <a:pt x="625" y="1157"/>
                </a:lnTo>
                <a:lnTo>
                  <a:pt x="625" y="1155"/>
                </a:lnTo>
                <a:lnTo>
                  <a:pt x="624" y="1152"/>
                </a:lnTo>
                <a:lnTo>
                  <a:pt x="621" y="1145"/>
                </a:lnTo>
                <a:lnTo>
                  <a:pt x="620" y="1141"/>
                </a:lnTo>
                <a:lnTo>
                  <a:pt x="620" y="1139"/>
                </a:lnTo>
                <a:lnTo>
                  <a:pt x="619" y="1138"/>
                </a:lnTo>
                <a:lnTo>
                  <a:pt x="619" y="1135"/>
                </a:lnTo>
                <a:lnTo>
                  <a:pt x="618" y="1133"/>
                </a:lnTo>
                <a:lnTo>
                  <a:pt x="618" y="1132"/>
                </a:lnTo>
                <a:lnTo>
                  <a:pt x="613" y="1116"/>
                </a:lnTo>
                <a:lnTo>
                  <a:pt x="602" y="1118"/>
                </a:lnTo>
                <a:lnTo>
                  <a:pt x="598" y="1119"/>
                </a:lnTo>
                <a:lnTo>
                  <a:pt x="596" y="1121"/>
                </a:lnTo>
                <a:lnTo>
                  <a:pt x="593" y="1122"/>
                </a:lnTo>
                <a:lnTo>
                  <a:pt x="592" y="1124"/>
                </a:lnTo>
                <a:lnTo>
                  <a:pt x="591" y="1125"/>
                </a:lnTo>
                <a:lnTo>
                  <a:pt x="587" y="1127"/>
                </a:lnTo>
                <a:lnTo>
                  <a:pt x="586" y="1128"/>
                </a:lnTo>
                <a:lnTo>
                  <a:pt x="584" y="1130"/>
                </a:lnTo>
                <a:lnTo>
                  <a:pt x="577" y="1136"/>
                </a:lnTo>
                <a:lnTo>
                  <a:pt x="574" y="1140"/>
                </a:lnTo>
                <a:lnTo>
                  <a:pt x="572" y="1144"/>
                </a:lnTo>
                <a:lnTo>
                  <a:pt x="567" y="1152"/>
                </a:lnTo>
                <a:lnTo>
                  <a:pt x="564" y="1156"/>
                </a:lnTo>
                <a:lnTo>
                  <a:pt x="562" y="1161"/>
                </a:lnTo>
                <a:lnTo>
                  <a:pt x="562" y="1164"/>
                </a:lnTo>
                <a:lnTo>
                  <a:pt x="562" y="1167"/>
                </a:lnTo>
                <a:lnTo>
                  <a:pt x="562" y="1171"/>
                </a:lnTo>
                <a:lnTo>
                  <a:pt x="561" y="1177"/>
                </a:lnTo>
                <a:lnTo>
                  <a:pt x="562" y="1190"/>
                </a:lnTo>
                <a:lnTo>
                  <a:pt x="562" y="1247"/>
                </a:lnTo>
                <a:lnTo>
                  <a:pt x="562" y="1295"/>
                </a:lnTo>
                <a:lnTo>
                  <a:pt x="562" y="1322"/>
                </a:lnTo>
                <a:lnTo>
                  <a:pt x="562" y="1326"/>
                </a:lnTo>
                <a:lnTo>
                  <a:pt x="563" y="1328"/>
                </a:lnTo>
                <a:lnTo>
                  <a:pt x="567" y="1330"/>
                </a:lnTo>
                <a:lnTo>
                  <a:pt x="568" y="1330"/>
                </a:lnTo>
                <a:lnTo>
                  <a:pt x="575" y="1333"/>
                </a:lnTo>
                <a:lnTo>
                  <a:pt x="581" y="1335"/>
                </a:lnTo>
                <a:lnTo>
                  <a:pt x="586" y="1337"/>
                </a:lnTo>
                <a:lnTo>
                  <a:pt x="590" y="1338"/>
                </a:lnTo>
                <a:lnTo>
                  <a:pt x="592" y="1339"/>
                </a:lnTo>
                <a:lnTo>
                  <a:pt x="593" y="1340"/>
                </a:lnTo>
                <a:lnTo>
                  <a:pt x="600" y="1343"/>
                </a:lnTo>
                <a:lnTo>
                  <a:pt x="602" y="1345"/>
                </a:lnTo>
                <a:lnTo>
                  <a:pt x="603" y="1349"/>
                </a:lnTo>
                <a:lnTo>
                  <a:pt x="604" y="1349"/>
                </a:lnTo>
                <a:lnTo>
                  <a:pt x="604" y="1351"/>
                </a:lnTo>
                <a:lnTo>
                  <a:pt x="604" y="1355"/>
                </a:lnTo>
                <a:lnTo>
                  <a:pt x="604" y="1357"/>
                </a:lnTo>
                <a:lnTo>
                  <a:pt x="602" y="1360"/>
                </a:lnTo>
                <a:lnTo>
                  <a:pt x="601" y="1361"/>
                </a:lnTo>
                <a:lnTo>
                  <a:pt x="595" y="1363"/>
                </a:lnTo>
                <a:lnTo>
                  <a:pt x="586" y="1365"/>
                </a:lnTo>
                <a:lnTo>
                  <a:pt x="579" y="1365"/>
                </a:lnTo>
                <a:lnTo>
                  <a:pt x="509" y="1365"/>
                </a:lnTo>
                <a:lnTo>
                  <a:pt x="500" y="1365"/>
                </a:lnTo>
                <a:lnTo>
                  <a:pt x="492" y="1363"/>
                </a:lnTo>
                <a:lnTo>
                  <a:pt x="485" y="1362"/>
                </a:lnTo>
                <a:lnTo>
                  <a:pt x="482" y="1361"/>
                </a:lnTo>
                <a:lnTo>
                  <a:pt x="481" y="1359"/>
                </a:lnTo>
                <a:lnTo>
                  <a:pt x="480" y="1357"/>
                </a:lnTo>
                <a:lnTo>
                  <a:pt x="479" y="1355"/>
                </a:lnTo>
                <a:lnTo>
                  <a:pt x="479" y="1352"/>
                </a:lnTo>
                <a:lnTo>
                  <a:pt x="479" y="1350"/>
                </a:lnTo>
                <a:lnTo>
                  <a:pt x="480" y="1348"/>
                </a:lnTo>
                <a:lnTo>
                  <a:pt x="481" y="1345"/>
                </a:lnTo>
                <a:lnTo>
                  <a:pt x="482" y="1344"/>
                </a:lnTo>
                <a:lnTo>
                  <a:pt x="483" y="1343"/>
                </a:lnTo>
                <a:lnTo>
                  <a:pt x="498" y="1338"/>
                </a:lnTo>
                <a:lnTo>
                  <a:pt x="503" y="1337"/>
                </a:lnTo>
                <a:lnTo>
                  <a:pt x="505" y="1335"/>
                </a:lnTo>
                <a:lnTo>
                  <a:pt x="512" y="1333"/>
                </a:lnTo>
                <a:lnTo>
                  <a:pt x="517" y="1330"/>
                </a:lnTo>
                <a:lnTo>
                  <a:pt x="520" y="1329"/>
                </a:lnTo>
                <a:lnTo>
                  <a:pt x="520" y="1327"/>
                </a:lnTo>
                <a:lnTo>
                  <a:pt x="521" y="1326"/>
                </a:lnTo>
                <a:lnTo>
                  <a:pt x="521" y="1298"/>
                </a:lnTo>
                <a:lnTo>
                  <a:pt x="521" y="1246"/>
                </a:lnTo>
                <a:lnTo>
                  <a:pt x="521" y="1160"/>
                </a:lnTo>
                <a:lnTo>
                  <a:pt x="521" y="1133"/>
                </a:lnTo>
                <a:lnTo>
                  <a:pt x="521" y="1124"/>
                </a:lnTo>
                <a:lnTo>
                  <a:pt x="521" y="1116"/>
                </a:lnTo>
                <a:lnTo>
                  <a:pt x="512" y="1114"/>
                </a:lnTo>
                <a:lnTo>
                  <a:pt x="503" y="1114"/>
                </a:lnTo>
                <a:lnTo>
                  <a:pt x="493" y="1114"/>
                </a:lnTo>
                <a:lnTo>
                  <a:pt x="488" y="1114"/>
                </a:lnTo>
                <a:lnTo>
                  <a:pt x="485" y="1114"/>
                </a:lnTo>
                <a:lnTo>
                  <a:pt x="482" y="1112"/>
                </a:lnTo>
                <a:lnTo>
                  <a:pt x="481" y="1110"/>
                </a:lnTo>
                <a:lnTo>
                  <a:pt x="480" y="1107"/>
                </a:lnTo>
                <a:lnTo>
                  <a:pt x="480" y="1105"/>
                </a:lnTo>
                <a:lnTo>
                  <a:pt x="481" y="1100"/>
                </a:lnTo>
                <a:lnTo>
                  <a:pt x="483" y="1099"/>
                </a:lnTo>
                <a:lnTo>
                  <a:pt x="485" y="1097"/>
                </a:lnTo>
                <a:lnTo>
                  <a:pt x="486" y="1096"/>
                </a:lnTo>
                <a:lnTo>
                  <a:pt x="488" y="1095"/>
                </a:lnTo>
                <a:lnTo>
                  <a:pt x="490" y="1094"/>
                </a:lnTo>
                <a:lnTo>
                  <a:pt x="492" y="1092"/>
                </a:lnTo>
                <a:lnTo>
                  <a:pt x="493" y="1091"/>
                </a:lnTo>
                <a:lnTo>
                  <a:pt x="496" y="1090"/>
                </a:lnTo>
                <a:lnTo>
                  <a:pt x="498" y="1089"/>
                </a:lnTo>
                <a:lnTo>
                  <a:pt x="500" y="1088"/>
                </a:lnTo>
                <a:lnTo>
                  <a:pt x="503" y="1088"/>
                </a:lnTo>
                <a:lnTo>
                  <a:pt x="504" y="1086"/>
                </a:lnTo>
                <a:lnTo>
                  <a:pt x="506" y="1084"/>
                </a:lnTo>
                <a:lnTo>
                  <a:pt x="509" y="1084"/>
                </a:lnTo>
                <a:lnTo>
                  <a:pt x="511" y="1083"/>
                </a:lnTo>
                <a:lnTo>
                  <a:pt x="512" y="1080"/>
                </a:lnTo>
                <a:lnTo>
                  <a:pt x="515" y="1080"/>
                </a:lnTo>
                <a:lnTo>
                  <a:pt x="517" y="1079"/>
                </a:lnTo>
                <a:lnTo>
                  <a:pt x="519" y="1077"/>
                </a:lnTo>
                <a:lnTo>
                  <a:pt x="521" y="1077"/>
                </a:lnTo>
                <a:lnTo>
                  <a:pt x="523" y="1075"/>
                </a:lnTo>
                <a:lnTo>
                  <a:pt x="526" y="1073"/>
                </a:lnTo>
                <a:lnTo>
                  <a:pt x="528" y="1073"/>
                </a:lnTo>
                <a:lnTo>
                  <a:pt x="531" y="1072"/>
                </a:lnTo>
                <a:lnTo>
                  <a:pt x="532" y="1071"/>
                </a:lnTo>
                <a:lnTo>
                  <a:pt x="534" y="1069"/>
                </a:lnTo>
                <a:lnTo>
                  <a:pt x="537" y="1068"/>
                </a:lnTo>
                <a:lnTo>
                  <a:pt x="538" y="1067"/>
                </a:lnTo>
                <a:lnTo>
                  <a:pt x="540" y="1066"/>
                </a:lnTo>
                <a:lnTo>
                  <a:pt x="543" y="1064"/>
                </a:lnTo>
                <a:lnTo>
                  <a:pt x="545" y="1064"/>
                </a:lnTo>
                <a:lnTo>
                  <a:pt x="549" y="1062"/>
                </a:lnTo>
                <a:lnTo>
                  <a:pt x="551" y="1062"/>
                </a:lnTo>
                <a:lnTo>
                  <a:pt x="555" y="1062"/>
                </a:lnTo>
                <a:lnTo>
                  <a:pt x="557" y="1063"/>
                </a:lnTo>
                <a:lnTo>
                  <a:pt x="561" y="1068"/>
                </a:lnTo>
                <a:lnTo>
                  <a:pt x="562" y="1071"/>
                </a:lnTo>
                <a:lnTo>
                  <a:pt x="562" y="1074"/>
                </a:lnTo>
                <a:lnTo>
                  <a:pt x="562" y="1083"/>
                </a:lnTo>
                <a:lnTo>
                  <a:pt x="562" y="1114"/>
                </a:lnTo>
                <a:lnTo>
                  <a:pt x="563" y="1113"/>
                </a:lnTo>
                <a:lnTo>
                  <a:pt x="563" y="1111"/>
                </a:lnTo>
                <a:lnTo>
                  <a:pt x="564" y="1108"/>
                </a:lnTo>
                <a:lnTo>
                  <a:pt x="567" y="1107"/>
                </a:lnTo>
                <a:lnTo>
                  <a:pt x="568" y="1106"/>
                </a:lnTo>
                <a:lnTo>
                  <a:pt x="571" y="1102"/>
                </a:lnTo>
                <a:lnTo>
                  <a:pt x="573" y="1100"/>
                </a:lnTo>
                <a:lnTo>
                  <a:pt x="577" y="1096"/>
                </a:lnTo>
                <a:lnTo>
                  <a:pt x="580" y="1090"/>
                </a:lnTo>
                <a:lnTo>
                  <a:pt x="584" y="1088"/>
                </a:lnTo>
                <a:lnTo>
                  <a:pt x="586" y="1086"/>
                </a:lnTo>
                <a:lnTo>
                  <a:pt x="589" y="1085"/>
                </a:lnTo>
                <a:lnTo>
                  <a:pt x="590" y="1084"/>
                </a:lnTo>
                <a:lnTo>
                  <a:pt x="592" y="1083"/>
                </a:lnTo>
                <a:lnTo>
                  <a:pt x="595" y="1081"/>
                </a:lnTo>
                <a:lnTo>
                  <a:pt x="600" y="1079"/>
                </a:lnTo>
                <a:lnTo>
                  <a:pt x="602" y="1078"/>
                </a:lnTo>
                <a:lnTo>
                  <a:pt x="618" y="1073"/>
                </a:lnTo>
                <a:lnTo>
                  <a:pt x="621" y="1073"/>
                </a:lnTo>
                <a:lnTo>
                  <a:pt x="627" y="1072"/>
                </a:lnTo>
                <a:lnTo>
                  <a:pt x="635" y="1072"/>
                </a:lnTo>
                <a:lnTo>
                  <a:pt x="649" y="1073"/>
                </a:lnTo>
                <a:close/>
                <a:moveTo>
                  <a:pt x="4297" y="1062"/>
                </a:moveTo>
                <a:lnTo>
                  <a:pt x="4301" y="1062"/>
                </a:lnTo>
                <a:lnTo>
                  <a:pt x="4303" y="1063"/>
                </a:lnTo>
                <a:lnTo>
                  <a:pt x="4305" y="1064"/>
                </a:lnTo>
                <a:lnTo>
                  <a:pt x="4307" y="1067"/>
                </a:lnTo>
                <a:lnTo>
                  <a:pt x="4308" y="1069"/>
                </a:lnTo>
                <a:lnTo>
                  <a:pt x="4308" y="1073"/>
                </a:lnTo>
                <a:lnTo>
                  <a:pt x="4308" y="1080"/>
                </a:lnTo>
                <a:lnTo>
                  <a:pt x="4308" y="1111"/>
                </a:lnTo>
                <a:lnTo>
                  <a:pt x="4316" y="1102"/>
                </a:lnTo>
                <a:lnTo>
                  <a:pt x="4327" y="1091"/>
                </a:lnTo>
                <a:lnTo>
                  <a:pt x="4340" y="1081"/>
                </a:lnTo>
                <a:lnTo>
                  <a:pt x="4343" y="1081"/>
                </a:lnTo>
                <a:lnTo>
                  <a:pt x="4345" y="1080"/>
                </a:lnTo>
                <a:lnTo>
                  <a:pt x="4348" y="1079"/>
                </a:lnTo>
                <a:lnTo>
                  <a:pt x="4349" y="1078"/>
                </a:lnTo>
                <a:lnTo>
                  <a:pt x="4355" y="1075"/>
                </a:lnTo>
                <a:lnTo>
                  <a:pt x="4362" y="1074"/>
                </a:lnTo>
                <a:lnTo>
                  <a:pt x="4369" y="1072"/>
                </a:lnTo>
                <a:lnTo>
                  <a:pt x="4378" y="1072"/>
                </a:lnTo>
                <a:lnTo>
                  <a:pt x="4390" y="1072"/>
                </a:lnTo>
                <a:lnTo>
                  <a:pt x="4395" y="1073"/>
                </a:lnTo>
                <a:lnTo>
                  <a:pt x="4398" y="1073"/>
                </a:lnTo>
                <a:lnTo>
                  <a:pt x="4401" y="1073"/>
                </a:lnTo>
                <a:lnTo>
                  <a:pt x="4403" y="1074"/>
                </a:lnTo>
                <a:lnTo>
                  <a:pt x="4406" y="1074"/>
                </a:lnTo>
                <a:lnTo>
                  <a:pt x="4408" y="1075"/>
                </a:lnTo>
                <a:lnTo>
                  <a:pt x="4409" y="1075"/>
                </a:lnTo>
                <a:lnTo>
                  <a:pt x="4412" y="1077"/>
                </a:lnTo>
                <a:lnTo>
                  <a:pt x="4415" y="1078"/>
                </a:lnTo>
                <a:lnTo>
                  <a:pt x="4423" y="1081"/>
                </a:lnTo>
                <a:lnTo>
                  <a:pt x="4430" y="1085"/>
                </a:lnTo>
                <a:lnTo>
                  <a:pt x="4437" y="1090"/>
                </a:lnTo>
                <a:lnTo>
                  <a:pt x="4442" y="1096"/>
                </a:lnTo>
                <a:lnTo>
                  <a:pt x="4448" y="1102"/>
                </a:lnTo>
                <a:lnTo>
                  <a:pt x="4453" y="1108"/>
                </a:lnTo>
                <a:lnTo>
                  <a:pt x="4456" y="1116"/>
                </a:lnTo>
                <a:lnTo>
                  <a:pt x="4460" y="1124"/>
                </a:lnTo>
                <a:lnTo>
                  <a:pt x="4460" y="1129"/>
                </a:lnTo>
                <a:lnTo>
                  <a:pt x="4461" y="1134"/>
                </a:lnTo>
                <a:lnTo>
                  <a:pt x="4463" y="1140"/>
                </a:lnTo>
                <a:lnTo>
                  <a:pt x="4463" y="1146"/>
                </a:lnTo>
                <a:lnTo>
                  <a:pt x="4464" y="1153"/>
                </a:lnTo>
                <a:lnTo>
                  <a:pt x="4464" y="1167"/>
                </a:lnTo>
                <a:lnTo>
                  <a:pt x="4464" y="1180"/>
                </a:lnTo>
                <a:lnTo>
                  <a:pt x="4464" y="1277"/>
                </a:lnTo>
                <a:lnTo>
                  <a:pt x="4464" y="1326"/>
                </a:lnTo>
                <a:lnTo>
                  <a:pt x="4464" y="1328"/>
                </a:lnTo>
                <a:lnTo>
                  <a:pt x="4469" y="1330"/>
                </a:lnTo>
                <a:lnTo>
                  <a:pt x="4473" y="1332"/>
                </a:lnTo>
                <a:lnTo>
                  <a:pt x="4478" y="1334"/>
                </a:lnTo>
                <a:lnTo>
                  <a:pt x="4482" y="1335"/>
                </a:lnTo>
                <a:lnTo>
                  <a:pt x="4488" y="1337"/>
                </a:lnTo>
                <a:lnTo>
                  <a:pt x="4493" y="1339"/>
                </a:lnTo>
                <a:lnTo>
                  <a:pt x="4496" y="1340"/>
                </a:lnTo>
                <a:lnTo>
                  <a:pt x="4500" y="1341"/>
                </a:lnTo>
                <a:lnTo>
                  <a:pt x="4502" y="1344"/>
                </a:lnTo>
                <a:lnTo>
                  <a:pt x="4504" y="1346"/>
                </a:lnTo>
                <a:lnTo>
                  <a:pt x="4505" y="1350"/>
                </a:lnTo>
                <a:lnTo>
                  <a:pt x="4506" y="1354"/>
                </a:lnTo>
                <a:lnTo>
                  <a:pt x="4505" y="1356"/>
                </a:lnTo>
                <a:lnTo>
                  <a:pt x="4505" y="1357"/>
                </a:lnTo>
                <a:lnTo>
                  <a:pt x="4504" y="1360"/>
                </a:lnTo>
                <a:lnTo>
                  <a:pt x="4501" y="1361"/>
                </a:lnTo>
                <a:lnTo>
                  <a:pt x="4499" y="1362"/>
                </a:lnTo>
                <a:lnTo>
                  <a:pt x="4495" y="1363"/>
                </a:lnTo>
                <a:lnTo>
                  <a:pt x="4488" y="1363"/>
                </a:lnTo>
                <a:lnTo>
                  <a:pt x="4479" y="1365"/>
                </a:lnTo>
                <a:lnTo>
                  <a:pt x="4409" y="1365"/>
                </a:lnTo>
                <a:lnTo>
                  <a:pt x="4401" y="1365"/>
                </a:lnTo>
                <a:lnTo>
                  <a:pt x="4397" y="1363"/>
                </a:lnTo>
                <a:lnTo>
                  <a:pt x="4392" y="1363"/>
                </a:lnTo>
                <a:lnTo>
                  <a:pt x="4389" y="1363"/>
                </a:lnTo>
                <a:lnTo>
                  <a:pt x="4385" y="1362"/>
                </a:lnTo>
                <a:lnTo>
                  <a:pt x="4384" y="1361"/>
                </a:lnTo>
                <a:lnTo>
                  <a:pt x="4383" y="1360"/>
                </a:lnTo>
                <a:lnTo>
                  <a:pt x="4383" y="1359"/>
                </a:lnTo>
                <a:lnTo>
                  <a:pt x="4382" y="1357"/>
                </a:lnTo>
                <a:lnTo>
                  <a:pt x="4382" y="1356"/>
                </a:lnTo>
                <a:lnTo>
                  <a:pt x="4380" y="1355"/>
                </a:lnTo>
                <a:lnTo>
                  <a:pt x="4380" y="1352"/>
                </a:lnTo>
                <a:lnTo>
                  <a:pt x="4382" y="1346"/>
                </a:lnTo>
                <a:lnTo>
                  <a:pt x="4383" y="1345"/>
                </a:lnTo>
                <a:lnTo>
                  <a:pt x="4383" y="1344"/>
                </a:lnTo>
                <a:lnTo>
                  <a:pt x="4385" y="1343"/>
                </a:lnTo>
                <a:lnTo>
                  <a:pt x="4395" y="1339"/>
                </a:lnTo>
                <a:lnTo>
                  <a:pt x="4396" y="1338"/>
                </a:lnTo>
                <a:lnTo>
                  <a:pt x="4400" y="1337"/>
                </a:lnTo>
                <a:lnTo>
                  <a:pt x="4403" y="1337"/>
                </a:lnTo>
                <a:lnTo>
                  <a:pt x="4406" y="1335"/>
                </a:lnTo>
                <a:lnTo>
                  <a:pt x="4407" y="1334"/>
                </a:lnTo>
                <a:lnTo>
                  <a:pt x="4409" y="1334"/>
                </a:lnTo>
                <a:lnTo>
                  <a:pt x="4411" y="1333"/>
                </a:lnTo>
                <a:lnTo>
                  <a:pt x="4414" y="1332"/>
                </a:lnTo>
                <a:lnTo>
                  <a:pt x="4415" y="1332"/>
                </a:lnTo>
                <a:lnTo>
                  <a:pt x="4418" y="1330"/>
                </a:lnTo>
                <a:lnTo>
                  <a:pt x="4421" y="1328"/>
                </a:lnTo>
                <a:lnTo>
                  <a:pt x="4421" y="1326"/>
                </a:lnTo>
                <a:lnTo>
                  <a:pt x="4423" y="1261"/>
                </a:lnTo>
                <a:lnTo>
                  <a:pt x="4423" y="1179"/>
                </a:lnTo>
                <a:lnTo>
                  <a:pt x="4423" y="1157"/>
                </a:lnTo>
                <a:lnTo>
                  <a:pt x="4423" y="1151"/>
                </a:lnTo>
                <a:lnTo>
                  <a:pt x="4421" y="1146"/>
                </a:lnTo>
                <a:lnTo>
                  <a:pt x="4420" y="1138"/>
                </a:lnTo>
                <a:lnTo>
                  <a:pt x="4419" y="1135"/>
                </a:lnTo>
                <a:lnTo>
                  <a:pt x="4418" y="1133"/>
                </a:lnTo>
                <a:lnTo>
                  <a:pt x="4417" y="1132"/>
                </a:lnTo>
                <a:lnTo>
                  <a:pt x="4415" y="1130"/>
                </a:lnTo>
                <a:lnTo>
                  <a:pt x="4413" y="1128"/>
                </a:lnTo>
                <a:lnTo>
                  <a:pt x="4412" y="1127"/>
                </a:lnTo>
                <a:lnTo>
                  <a:pt x="4409" y="1124"/>
                </a:lnTo>
                <a:lnTo>
                  <a:pt x="4407" y="1122"/>
                </a:lnTo>
                <a:lnTo>
                  <a:pt x="4406" y="1121"/>
                </a:lnTo>
                <a:lnTo>
                  <a:pt x="4402" y="1119"/>
                </a:lnTo>
                <a:lnTo>
                  <a:pt x="4400" y="1117"/>
                </a:lnTo>
                <a:lnTo>
                  <a:pt x="4396" y="1116"/>
                </a:lnTo>
                <a:lnTo>
                  <a:pt x="4394" y="1116"/>
                </a:lnTo>
                <a:lnTo>
                  <a:pt x="4392" y="1114"/>
                </a:lnTo>
                <a:lnTo>
                  <a:pt x="4391" y="1114"/>
                </a:lnTo>
                <a:lnTo>
                  <a:pt x="4389" y="1113"/>
                </a:lnTo>
                <a:lnTo>
                  <a:pt x="4386" y="1113"/>
                </a:lnTo>
                <a:lnTo>
                  <a:pt x="4384" y="1112"/>
                </a:lnTo>
                <a:lnTo>
                  <a:pt x="4379" y="1112"/>
                </a:lnTo>
                <a:lnTo>
                  <a:pt x="4371" y="1112"/>
                </a:lnTo>
                <a:lnTo>
                  <a:pt x="4367" y="1112"/>
                </a:lnTo>
                <a:lnTo>
                  <a:pt x="4363" y="1113"/>
                </a:lnTo>
                <a:lnTo>
                  <a:pt x="4362" y="1113"/>
                </a:lnTo>
                <a:lnTo>
                  <a:pt x="4360" y="1114"/>
                </a:lnTo>
                <a:lnTo>
                  <a:pt x="4354" y="1116"/>
                </a:lnTo>
                <a:lnTo>
                  <a:pt x="4350" y="1117"/>
                </a:lnTo>
                <a:lnTo>
                  <a:pt x="4346" y="1119"/>
                </a:lnTo>
                <a:lnTo>
                  <a:pt x="4344" y="1121"/>
                </a:lnTo>
                <a:lnTo>
                  <a:pt x="4342" y="1122"/>
                </a:lnTo>
                <a:lnTo>
                  <a:pt x="4339" y="1123"/>
                </a:lnTo>
                <a:lnTo>
                  <a:pt x="4338" y="1124"/>
                </a:lnTo>
                <a:lnTo>
                  <a:pt x="4337" y="1127"/>
                </a:lnTo>
                <a:lnTo>
                  <a:pt x="4334" y="1128"/>
                </a:lnTo>
                <a:lnTo>
                  <a:pt x="4330" y="1133"/>
                </a:lnTo>
                <a:lnTo>
                  <a:pt x="4325" y="1136"/>
                </a:lnTo>
                <a:lnTo>
                  <a:pt x="4322" y="1140"/>
                </a:lnTo>
                <a:lnTo>
                  <a:pt x="4321" y="1141"/>
                </a:lnTo>
                <a:lnTo>
                  <a:pt x="4320" y="1144"/>
                </a:lnTo>
                <a:lnTo>
                  <a:pt x="4319" y="1145"/>
                </a:lnTo>
                <a:lnTo>
                  <a:pt x="4319" y="1147"/>
                </a:lnTo>
                <a:lnTo>
                  <a:pt x="4316" y="1150"/>
                </a:lnTo>
                <a:lnTo>
                  <a:pt x="4315" y="1152"/>
                </a:lnTo>
                <a:lnTo>
                  <a:pt x="4315" y="1155"/>
                </a:lnTo>
                <a:lnTo>
                  <a:pt x="4314" y="1157"/>
                </a:lnTo>
                <a:lnTo>
                  <a:pt x="4313" y="1161"/>
                </a:lnTo>
                <a:lnTo>
                  <a:pt x="4311" y="1162"/>
                </a:lnTo>
                <a:lnTo>
                  <a:pt x="4311" y="1164"/>
                </a:lnTo>
                <a:lnTo>
                  <a:pt x="4310" y="1167"/>
                </a:lnTo>
                <a:lnTo>
                  <a:pt x="4310" y="1169"/>
                </a:lnTo>
                <a:lnTo>
                  <a:pt x="4309" y="1177"/>
                </a:lnTo>
                <a:lnTo>
                  <a:pt x="4308" y="1184"/>
                </a:lnTo>
                <a:lnTo>
                  <a:pt x="4308" y="1200"/>
                </a:lnTo>
                <a:lnTo>
                  <a:pt x="4308" y="1260"/>
                </a:lnTo>
                <a:lnTo>
                  <a:pt x="4308" y="1301"/>
                </a:lnTo>
                <a:lnTo>
                  <a:pt x="4308" y="1324"/>
                </a:lnTo>
                <a:lnTo>
                  <a:pt x="4309" y="1328"/>
                </a:lnTo>
                <a:lnTo>
                  <a:pt x="4311" y="1329"/>
                </a:lnTo>
                <a:lnTo>
                  <a:pt x="4314" y="1330"/>
                </a:lnTo>
                <a:lnTo>
                  <a:pt x="4320" y="1333"/>
                </a:lnTo>
                <a:lnTo>
                  <a:pt x="4324" y="1334"/>
                </a:lnTo>
                <a:lnTo>
                  <a:pt x="4325" y="1334"/>
                </a:lnTo>
                <a:lnTo>
                  <a:pt x="4327" y="1335"/>
                </a:lnTo>
                <a:lnTo>
                  <a:pt x="4328" y="1335"/>
                </a:lnTo>
                <a:lnTo>
                  <a:pt x="4333" y="1337"/>
                </a:lnTo>
                <a:lnTo>
                  <a:pt x="4334" y="1338"/>
                </a:lnTo>
                <a:lnTo>
                  <a:pt x="4338" y="1339"/>
                </a:lnTo>
                <a:lnTo>
                  <a:pt x="4344" y="1341"/>
                </a:lnTo>
                <a:lnTo>
                  <a:pt x="4348" y="1343"/>
                </a:lnTo>
                <a:lnTo>
                  <a:pt x="4348" y="1344"/>
                </a:lnTo>
                <a:lnTo>
                  <a:pt x="4349" y="1346"/>
                </a:lnTo>
                <a:lnTo>
                  <a:pt x="4350" y="1348"/>
                </a:lnTo>
                <a:lnTo>
                  <a:pt x="4350" y="1349"/>
                </a:lnTo>
                <a:lnTo>
                  <a:pt x="4350" y="1351"/>
                </a:lnTo>
                <a:lnTo>
                  <a:pt x="4350" y="1355"/>
                </a:lnTo>
                <a:lnTo>
                  <a:pt x="4349" y="1359"/>
                </a:lnTo>
                <a:lnTo>
                  <a:pt x="4346" y="1361"/>
                </a:lnTo>
                <a:lnTo>
                  <a:pt x="4345" y="1362"/>
                </a:lnTo>
                <a:lnTo>
                  <a:pt x="4343" y="1362"/>
                </a:lnTo>
                <a:lnTo>
                  <a:pt x="4338" y="1363"/>
                </a:lnTo>
                <a:lnTo>
                  <a:pt x="4332" y="1365"/>
                </a:lnTo>
                <a:lnTo>
                  <a:pt x="4319" y="1365"/>
                </a:lnTo>
                <a:lnTo>
                  <a:pt x="4262" y="1365"/>
                </a:lnTo>
                <a:lnTo>
                  <a:pt x="4246" y="1365"/>
                </a:lnTo>
                <a:lnTo>
                  <a:pt x="4241" y="1365"/>
                </a:lnTo>
                <a:lnTo>
                  <a:pt x="4238" y="1363"/>
                </a:lnTo>
                <a:lnTo>
                  <a:pt x="4232" y="1362"/>
                </a:lnTo>
                <a:lnTo>
                  <a:pt x="4227" y="1359"/>
                </a:lnTo>
                <a:lnTo>
                  <a:pt x="4227" y="1357"/>
                </a:lnTo>
                <a:lnTo>
                  <a:pt x="4226" y="1356"/>
                </a:lnTo>
                <a:lnTo>
                  <a:pt x="4226" y="1354"/>
                </a:lnTo>
                <a:lnTo>
                  <a:pt x="4226" y="1351"/>
                </a:lnTo>
                <a:lnTo>
                  <a:pt x="4226" y="1348"/>
                </a:lnTo>
                <a:lnTo>
                  <a:pt x="4228" y="1345"/>
                </a:lnTo>
                <a:lnTo>
                  <a:pt x="4229" y="1344"/>
                </a:lnTo>
                <a:lnTo>
                  <a:pt x="4232" y="1343"/>
                </a:lnTo>
                <a:lnTo>
                  <a:pt x="4237" y="1340"/>
                </a:lnTo>
                <a:lnTo>
                  <a:pt x="4244" y="1338"/>
                </a:lnTo>
                <a:lnTo>
                  <a:pt x="4247" y="1337"/>
                </a:lnTo>
                <a:lnTo>
                  <a:pt x="4256" y="1333"/>
                </a:lnTo>
                <a:lnTo>
                  <a:pt x="4263" y="1330"/>
                </a:lnTo>
                <a:lnTo>
                  <a:pt x="4266" y="1329"/>
                </a:lnTo>
                <a:lnTo>
                  <a:pt x="4267" y="1328"/>
                </a:lnTo>
                <a:lnTo>
                  <a:pt x="4267" y="1326"/>
                </a:lnTo>
                <a:lnTo>
                  <a:pt x="4268" y="1324"/>
                </a:lnTo>
                <a:lnTo>
                  <a:pt x="4268" y="1321"/>
                </a:lnTo>
                <a:lnTo>
                  <a:pt x="4268" y="1315"/>
                </a:lnTo>
                <a:lnTo>
                  <a:pt x="4268" y="1284"/>
                </a:lnTo>
                <a:lnTo>
                  <a:pt x="4268" y="1162"/>
                </a:lnTo>
                <a:lnTo>
                  <a:pt x="4268" y="1129"/>
                </a:lnTo>
                <a:lnTo>
                  <a:pt x="4268" y="1122"/>
                </a:lnTo>
                <a:lnTo>
                  <a:pt x="4268" y="1118"/>
                </a:lnTo>
                <a:lnTo>
                  <a:pt x="4267" y="1116"/>
                </a:lnTo>
                <a:lnTo>
                  <a:pt x="4266" y="1116"/>
                </a:lnTo>
                <a:lnTo>
                  <a:pt x="4263" y="1114"/>
                </a:lnTo>
                <a:lnTo>
                  <a:pt x="4259" y="1116"/>
                </a:lnTo>
                <a:lnTo>
                  <a:pt x="4237" y="1116"/>
                </a:lnTo>
                <a:lnTo>
                  <a:pt x="4233" y="1114"/>
                </a:lnTo>
                <a:lnTo>
                  <a:pt x="4230" y="1113"/>
                </a:lnTo>
                <a:lnTo>
                  <a:pt x="4228" y="1110"/>
                </a:lnTo>
                <a:lnTo>
                  <a:pt x="4227" y="1107"/>
                </a:lnTo>
                <a:lnTo>
                  <a:pt x="4227" y="1103"/>
                </a:lnTo>
                <a:lnTo>
                  <a:pt x="4227" y="1101"/>
                </a:lnTo>
                <a:lnTo>
                  <a:pt x="4232" y="1096"/>
                </a:lnTo>
                <a:lnTo>
                  <a:pt x="4233" y="1095"/>
                </a:lnTo>
                <a:lnTo>
                  <a:pt x="4234" y="1094"/>
                </a:lnTo>
                <a:lnTo>
                  <a:pt x="4237" y="1094"/>
                </a:lnTo>
                <a:lnTo>
                  <a:pt x="4241" y="1091"/>
                </a:lnTo>
                <a:lnTo>
                  <a:pt x="4243" y="1090"/>
                </a:lnTo>
                <a:lnTo>
                  <a:pt x="4246" y="1088"/>
                </a:lnTo>
                <a:lnTo>
                  <a:pt x="4247" y="1086"/>
                </a:lnTo>
                <a:lnTo>
                  <a:pt x="4250" y="1086"/>
                </a:lnTo>
                <a:lnTo>
                  <a:pt x="4252" y="1085"/>
                </a:lnTo>
                <a:lnTo>
                  <a:pt x="4255" y="1083"/>
                </a:lnTo>
                <a:lnTo>
                  <a:pt x="4257" y="1083"/>
                </a:lnTo>
                <a:lnTo>
                  <a:pt x="4259" y="1081"/>
                </a:lnTo>
                <a:lnTo>
                  <a:pt x="4261" y="1079"/>
                </a:lnTo>
                <a:lnTo>
                  <a:pt x="4263" y="1079"/>
                </a:lnTo>
                <a:lnTo>
                  <a:pt x="4266" y="1078"/>
                </a:lnTo>
                <a:lnTo>
                  <a:pt x="4267" y="1075"/>
                </a:lnTo>
                <a:lnTo>
                  <a:pt x="4269" y="1075"/>
                </a:lnTo>
                <a:lnTo>
                  <a:pt x="4272" y="1074"/>
                </a:lnTo>
                <a:lnTo>
                  <a:pt x="4274" y="1073"/>
                </a:lnTo>
                <a:lnTo>
                  <a:pt x="4275" y="1072"/>
                </a:lnTo>
                <a:lnTo>
                  <a:pt x="4278" y="1071"/>
                </a:lnTo>
                <a:lnTo>
                  <a:pt x="4280" y="1069"/>
                </a:lnTo>
                <a:lnTo>
                  <a:pt x="4282" y="1068"/>
                </a:lnTo>
                <a:lnTo>
                  <a:pt x="4285" y="1067"/>
                </a:lnTo>
                <a:lnTo>
                  <a:pt x="4286" y="1066"/>
                </a:lnTo>
                <a:lnTo>
                  <a:pt x="4288" y="1064"/>
                </a:lnTo>
                <a:lnTo>
                  <a:pt x="4290" y="1064"/>
                </a:lnTo>
                <a:lnTo>
                  <a:pt x="4292" y="1063"/>
                </a:lnTo>
                <a:lnTo>
                  <a:pt x="4295" y="1063"/>
                </a:lnTo>
                <a:lnTo>
                  <a:pt x="4296" y="1062"/>
                </a:lnTo>
                <a:lnTo>
                  <a:pt x="4297" y="1062"/>
                </a:lnTo>
                <a:close/>
                <a:moveTo>
                  <a:pt x="4615" y="1075"/>
                </a:moveTo>
                <a:lnTo>
                  <a:pt x="4685" y="1075"/>
                </a:lnTo>
                <a:lnTo>
                  <a:pt x="4684" y="1078"/>
                </a:lnTo>
                <a:lnTo>
                  <a:pt x="4684" y="1080"/>
                </a:lnTo>
                <a:lnTo>
                  <a:pt x="4683" y="1083"/>
                </a:lnTo>
                <a:lnTo>
                  <a:pt x="4683" y="1085"/>
                </a:lnTo>
                <a:lnTo>
                  <a:pt x="4681" y="1088"/>
                </a:lnTo>
                <a:lnTo>
                  <a:pt x="4681" y="1089"/>
                </a:lnTo>
                <a:lnTo>
                  <a:pt x="4680" y="1095"/>
                </a:lnTo>
                <a:lnTo>
                  <a:pt x="4679" y="1100"/>
                </a:lnTo>
                <a:lnTo>
                  <a:pt x="4675" y="1112"/>
                </a:lnTo>
                <a:lnTo>
                  <a:pt x="4615" y="1112"/>
                </a:lnTo>
                <a:lnTo>
                  <a:pt x="4615" y="1261"/>
                </a:lnTo>
                <a:lnTo>
                  <a:pt x="4615" y="1295"/>
                </a:lnTo>
                <a:lnTo>
                  <a:pt x="4615" y="1304"/>
                </a:lnTo>
                <a:lnTo>
                  <a:pt x="4615" y="1307"/>
                </a:lnTo>
                <a:lnTo>
                  <a:pt x="4616" y="1311"/>
                </a:lnTo>
                <a:lnTo>
                  <a:pt x="4616" y="1313"/>
                </a:lnTo>
                <a:lnTo>
                  <a:pt x="4617" y="1317"/>
                </a:lnTo>
                <a:lnTo>
                  <a:pt x="4618" y="1321"/>
                </a:lnTo>
                <a:lnTo>
                  <a:pt x="4621" y="1323"/>
                </a:lnTo>
                <a:lnTo>
                  <a:pt x="4623" y="1326"/>
                </a:lnTo>
                <a:lnTo>
                  <a:pt x="4624" y="1328"/>
                </a:lnTo>
                <a:lnTo>
                  <a:pt x="4627" y="1329"/>
                </a:lnTo>
                <a:lnTo>
                  <a:pt x="4637" y="1332"/>
                </a:lnTo>
                <a:lnTo>
                  <a:pt x="4641" y="1332"/>
                </a:lnTo>
                <a:lnTo>
                  <a:pt x="4655" y="1332"/>
                </a:lnTo>
                <a:lnTo>
                  <a:pt x="4660" y="1330"/>
                </a:lnTo>
                <a:lnTo>
                  <a:pt x="4678" y="1323"/>
                </a:lnTo>
                <a:lnTo>
                  <a:pt x="4683" y="1322"/>
                </a:lnTo>
                <a:lnTo>
                  <a:pt x="4687" y="1322"/>
                </a:lnTo>
                <a:lnTo>
                  <a:pt x="4692" y="1324"/>
                </a:lnTo>
                <a:lnTo>
                  <a:pt x="4696" y="1327"/>
                </a:lnTo>
                <a:lnTo>
                  <a:pt x="4696" y="1328"/>
                </a:lnTo>
                <a:lnTo>
                  <a:pt x="4697" y="1332"/>
                </a:lnTo>
                <a:lnTo>
                  <a:pt x="4697" y="1333"/>
                </a:lnTo>
                <a:lnTo>
                  <a:pt x="4698" y="1337"/>
                </a:lnTo>
                <a:lnTo>
                  <a:pt x="4697" y="1339"/>
                </a:lnTo>
                <a:lnTo>
                  <a:pt x="4697" y="1340"/>
                </a:lnTo>
                <a:lnTo>
                  <a:pt x="4696" y="1343"/>
                </a:lnTo>
                <a:lnTo>
                  <a:pt x="4695" y="1345"/>
                </a:lnTo>
                <a:lnTo>
                  <a:pt x="4692" y="1348"/>
                </a:lnTo>
                <a:lnTo>
                  <a:pt x="4687" y="1351"/>
                </a:lnTo>
                <a:lnTo>
                  <a:pt x="4681" y="1356"/>
                </a:lnTo>
                <a:lnTo>
                  <a:pt x="4673" y="1360"/>
                </a:lnTo>
                <a:lnTo>
                  <a:pt x="4657" y="1366"/>
                </a:lnTo>
                <a:lnTo>
                  <a:pt x="4654" y="1366"/>
                </a:lnTo>
                <a:lnTo>
                  <a:pt x="4652" y="1366"/>
                </a:lnTo>
                <a:lnTo>
                  <a:pt x="4649" y="1367"/>
                </a:lnTo>
                <a:lnTo>
                  <a:pt x="4644" y="1367"/>
                </a:lnTo>
                <a:lnTo>
                  <a:pt x="4639" y="1368"/>
                </a:lnTo>
                <a:lnTo>
                  <a:pt x="4633" y="1368"/>
                </a:lnTo>
                <a:lnTo>
                  <a:pt x="4626" y="1368"/>
                </a:lnTo>
                <a:lnTo>
                  <a:pt x="4621" y="1367"/>
                </a:lnTo>
                <a:lnTo>
                  <a:pt x="4618" y="1367"/>
                </a:lnTo>
                <a:lnTo>
                  <a:pt x="4616" y="1367"/>
                </a:lnTo>
                <a:lnTo>
                  <a:pt x="4614" y="1366"/>
                </a:lnTo>
                <a:lnTo>
                  <a:pt x="4610" y="1366"/>
                </a:lnTo>
                <a:lnTo>
                  <a:pt x="4608" y="1365"/>
                </a:lnTo>
                <a:lnTo>
                  <a:pt x="4604" y="1362"/>
                </a:lnTo>
                <a:lnTo>
                  <a:pt x="4600" y="1361"/>
                </a:lnTo>
                <a:lnTo>
                  <a:pt x="4598" y="1360"/>
                </a:lnTo>
                <a:lnTo>
                  <a:pt x="4597" y="1359"/>
                </a:lnTo>
                <a:lnTo>
                  <a:pt x="4594" y="1357"/>
                </a:lnTo>
                <a:lnTo>
                  <a:pt x="4594" y="1355"/>
                </a:lnTo>
                <a:lnTo>
                  <a:pt x="4589" y="1351"/>
                </a:lnTo>
                <a:lnTo>
                  <a:pt x="4586" y="1349"/>
                </a:lnTo>
                <a:lnTo>
                  <a:pt x="4583" y="1346"/>
                </a:lnTo>
                <a:lnTo>
                  <a:pt x="4582" y="1344"/>
                </a:lnTo>
                <a:lnTo>
                  <a:pt x="4581" y="1343"/>
                </a:lnTo>
                <a:lnTo>
                  <a:pt x="4581" y="1340"/>
                </a:lnTo>
                <a:lnTo>
                  <a:pt x="4579" y="1335"/>
                </a:lnTo>
                <a:lnTo>
                  <a:pt x="4579" y="1334"/>
                </a:lnTo>
                <a:lnTo>
                  <a:pt x="4577" y="1330"/>
                </a:lnTo>
                <a:lnTo>
                  <a:pt x="4576" y="1328"/>
                </a:lnTo>
                <a:lnTo>
                  <a:pt x="4576" y="1326"/>
                </a:lnTo>
                <a:lnTo>
                  <a:pt x="4575" y="1323"/>
                </a:lnTo>
                <a:lnTo>
                  <a:pt x="4575" y="1319"/>
                </a:lnTo>
                <a:lnTo>
                  <a:pt x="4574" y="1269"/>
                </a:lnTo>
                <a:lnTo>
                  <a:pt x="4574" y="1112"/>
                </a:lnTo>
                <a:lnTo>
                  <a:pt x="4563" y="1112"/>
                </a:lnTo>
                <a:lnTo>
                  <a:pt x="4552" y="1112"/>
                </a:lnTo>
                <a:lnTo>
                  <a:pt x="4546" y="1111"/>
                </a:lnTo>
                <a:lnTo>
                  <a:pt x="4542" y="1110"/>
                </a:lnTo>
                <a:lnTo>
                  <a:pt x="4539" y="1107"/>
                </a:lnTo>
                <a:lnTo>
                  <a:pt x="4537" y="1106"/>
                </a:lnTo>
                <a:lnTo>
                  <a:pt x="4536" y="1105"/>
                </a:lnTo>
                <a:lnTo>
                  <a:pt x="4536" y="1103"/>
                </a:lnTo>
                <a:lnTo>
                  <a:pt x="4535" y="1101"/>
                </a:lnTo>
                <a:lnTo>
                  <a:pt x="4535" y="1096"/>
                </a:lnTo>
                <a:lnTo>
                  <a:pt x="4536" y="1091"/>
                </a:lnTo>
                <a:lnTo>
                  <a:pt x="4537" y="1088"/>
                </a:lnTo>
                <a:lnTo>
                  <a:pt x="4545" y="1083"/>
                </a:lnTo>
                <a:lnTo>
                  <a:pt x="4548" y="1083"/>
                </a:lnTo>
                <a:lnTo>
                  <a:pt x="4552" y="1080"/>
                </a:lnTo>
                <a:lnTo>
                  <a:pt x="4556" y="1079"/>
                </a:lnTo>
                <a:lnTo>
                  <a:pt x="4563" y="1077"/>
                </a:lnTo>
                <a:lnTo>
                  <a:pt x="4565" y="1075"/>
                </a:lnTo>
                <a:lnTo>
                  <a:pt x="4569" y="1074"/>
                </a:lnTo>
                <a:lnTo>
                  <a:pt x="4571" y="1073"/>
                </a:lnTo>
                <a:lnTo>
                  <a:pt x="4575" y="1069"/>
                </a:lnTo>
                <a:lnTo>
                  <a:pt x="4576" y="1068"/>
                </a:lnTo>
                <a:lnTo>
                  <a:pt x="4577" y="1066"/>
                </a:lnTo>
                <a:lnTo>
                  <a:pt x="4579" y="1063"/>
                </a:lnTo>
                <a:lnTo>
                  <a:pt x="4580" y="1060"/>
                </a:lnTo>
                <a:lnTo>
                  <a:pt x="4580" y="1058"/>
                </a:lnTo>
                <a:lnTo>
                  <a:pt x="4581" y="1055"/>
                </a:lnTo>
                <a:lnTo>
                  <a:pt x="4581" y="1051"/>
                </a:lnTo>
                <a:lnTo>
                  <a:pt x="4582" y="1045"/>
                </a:lnTo>
                <a:lnTo>
                  <a:pt x="4583" y="1030"/>
                </a:lnTo>
                <a:lnTo>
                  <a:pt x="4583" y="1027"/>
                </a:lnTo>
                <a:lnTo>
                  <a:pt x="4585" y="1024"/>
                </a:lnTo>
                <a:lnTo>
                  <a:pt x="4585" y="1020"/>
                </a:lnTo>
                <a:lnTo>
                  <a:pt x="4586" y="1019"/>
                </a:lnTo>
                <a:lnTo>
                  <a:pt x="4586" y="1017"/>
                </a:lnTo>
                <a:lnTo>
                  <a:pt x="4587" y="1016"/>
                </a:lnTo>
                <a:lnTo>
                  <a:pt x="4588" y="1013"/>
                </a:lnTo>
                <a:lnTo>
                  <a:pt x="4591" y="1011"/>
                </a:lnTo>
                <a:lnTo>
                  <a:pt x="4592" y="1008"/>
                </a:lnTo>
                <a:lnTo>
                  <a:pt x="4594" y="1007"/>
                </a:lnTo>
                <a:lnTo>
                  <a:pt x="4595" y="1007"/>
                </a:lnTo>
                <a:lnTo>
                  <a:pt x="4603" y="1006"/>
                </a:lnTo>
                <a:lnTo>
                  <a:pt x="4606" y="1007"/>
                </a:lnTo>
                <a:lnTo>
                  <a:pt x="4608" y="1008"/>
                </a:lnTo>
                <a:lnTo>
                  <a:pt x="4610" y="1011"/>
                </a:lnTo>
                <a:lnTo>
                  <a:pt x="4611" y="1012"/>
                </a:lnTo>
                <a:lnTo>
                  <a:pt x="4612" y="1014"/>
                </a:lnTo>
                <a:lnTo>
                  <a:pt x="4612" y="1016"/>
                </a:lnTo>
                <a:lnTo>
                  <a:pt x="4614" y="1019"/>
                </a:lnTo>
                <a:lnTo>
                  <a:pt x="4615" y="1024"/>
                </a:lnTo>
                <a:lnTo>
                  <a:pt x="4615" y="1034"/>
                </a:lnTo>
                <a:lnTo>
                  <a:pt x="4615" y="1075"/>
                </a:lnTo>
                <a:close/>
                <a:moveTo>
                  <a:pt x="3844" y="1075"/>
                </a:moveTo>
                <a:lnTo>
                  <a:pt x="3914" y="1075"/>
                </a:lnTo>
                <a:lnTo>
                  <a:pt x="3904" y="1112"/>
                </a:lnTo>
                <a:lnTo>
                  <a:pt x="3844" y="1112"/>
                </a:lnTo>
                <a:lnTo>
                  <a:pt x="3844" y="1268"/>
                </a:lnTo>
                <a:lnTo>
                  <a:pt x="3844" y="1293"/>
                </a:lnTo>
                <a:lnTo>
                  <a:pt x="3844" y="1300"/>
                </a:lnTo>
                <a:lnTo>
                  <a:pt x="3844" y="1306"/>
                </a:lnTo>
                <a:lnTo>
                  <a:pt x="3845" y="1313"/>
                </a:lnTo>
                <a:lnTo>
                  <a:pt x="3846" y="1317"/>
                </a:lnTo>
                <a:lnTo>
                  <a:pt x="3847" y="1321"/>
                </a:lnTo>
                <a:lnTo>
                  <a:pt x="3850" y="1322"/>
                </a:lnTo>
                <a:lnTo>
                  <a:pt x="3852" y="1324"/>
                </a:lnTo>
                <a:lnTo>
                  <a:pt x="3853" y="1327"/>
                </a:lnTo>
                <a:lnTo>
                  <a:pt x="3857" y="1329"/>
                </a:lnTo>
                <a:lnTo>
                  <a:pt x="3862" y="1330"/>
                </a:lnTo>
                <a:lnTo>
                  <a:pt x="3867" y="1332"/>
                </a:lnTo>
                <a:lnTo>
                  <a:pt x="3873" y="1332"/>
                </a:lnTo>
                <a:lnTo>
                  <a:pt x="3880" y="1332"/>
                </a:lnTo>
                <a:lnTo>
                  <a:pt x="3884" y="1332"/>
                </a:lnTo>
                <a:lnTo>
                  <a:pt x="3885" y="1330"/>
                </a:lnTo>
                <a:lnTo>
                  <a:pt x="3887" y="1330"/>
                </a:lnTo>
                <a:lnTo>
                  <a:pt x="3899" y="1326"/>
                </a:lnTo>
                <a:lnTo>
                  <a:pt x="3910" y="1322"/>
                </a:lnTo>
                <a:lnTo>
                  <a:pt x="3914" y="1322"/>
                </a:lnTo>
                <a:lnTo>
                  <a:pt x="3916" y="1322"/>
                </a:lnTo>
                <a:lnTo>
                  <a:pt x="3921" y="1323"/>
                </a:lnTo>
                <a:lnTo>
                  <a:pt x="3925" y="1327"/>
                </a:lnTo>
                <a:lnTo>
                  <a:pt x="3926" y="1329"/>
                </a:lnTo>
                <a:lnTo>
                  <a:pt x="3926" y="1330"/>
                </a:lnTo>
                <a:lnTo>
                  <a:pt x="3927" y="1333"/>
                </a:lnTo>
                <a:lnTo>
                  <a:pt x="3927" y="1334"/>
                </a:lnTo>
                <a:lnTo>
                  <a:pt x="3927" y="1337"/>
                </a:lnTo>
                <a:lnTo>
                  <a:pt x="3926" y="1340"/>
                </a:lnTo>
                <a:lnTo>
                  <a:pt x="3925" y="1343"/>
                </a:lnTo>
                <a:lnTo>
                  <a:pt x="3922" y="1346"/>
                </a:lnTo>
                <a:lnTo>
                  <a:pt x="3919" y="1350"/>
                </a:lnTo>
                <a:lnTo>
                  <a:pt x="3916" y="1351"/>
                </a:lnTo>
                <a:lnTo>
                  <a:pt x="3915" y="1352"/>
                </a:lnTo>
                <a:lnTo>
                  <a:pt x="3913" y="1354"/>
                </a:lnTo>
                <a:lnTo>
                  <a:pt x="3911" y="1355"/>
                </a:lnTo>
                <a:lnTo>
                  <a:pt x="3909" y="1356"/>
                </a:lnTo>
                <a:lnTo>
                  <a:pt x="3907" y="1357"/>
                </a:lnTo>
                <a:lnTo>
                  <a:pt x="3904" y="1359"/>
                </a:lnTo>
                <a:lnTo>
                  <a:pt x="3902" y="1360"/>
                </a:lnTo>
                <a:lnTo>
                  <a:pt x="3899" y="1361"/>
                </a:lnTo>
                <a:lnTo>
                  <a:pt x="3897" y="1362"/>
                </a:lnTo>
                <a:lnTo>
                  <a:pt x="3891" y="1363"/>
                </a:lnTo>
                <a:lnTo>
                  <a:pt x="3890" y="1365"/>
                </a:lnTo>
                <a:lnTo>
                  <a:pt x="3887" y="1365"/>
                </a:lnTo>
                <a:lnTo>
                  <a:pt x="3885" y="1366"/>
                </a:lnTo>
                <a:lnTo>
                  <a:pt x="3882" y="1366"/>
                </a:lnTo>
                <a:lnTo>
                  <a:pt x="3871" y="1367"/>
                </a:lnTo>
                <a:lnTo>
                  <a:pt x="3857" y="1368"/>
                </a:lnTo>
                <a:lnTo>
                  <a:pt x="3851" y="1368"/>
                </a:lnTo>
                <a:lnTo>
                  <a:pt x="3836" y="1365"/>
                </a:lnTo>
                <a:lnTo>
                  <a:pt x="3833" y="1362"/>
                </a:lnTo>
                <a:lnTo>
                  <a:pt x="3828" y="1360"/>
                </a:lnTo>
                <a:lnTo>
                  <a:pt x="3827" y="1359"/>
                </a:lnTo>
                <a:lnTo>
                  <a:pt x="3826" y="1357"/>
                </a:lnTo>
                <a:lnTo>
                  <a:pt x="3824" y="1356"/>
                </a:lnTo>
                <a:lnTo>
                  <a:pt x="3820" y="1351"/>
                </a:lnTo>
                <a:lnTo>
                  <a:pt x="3813" y="1348"/>
                </a:lnTo>
                <a:lnTo>
                  <a:pt x="3812" y="1345"/>
                </a:lnTo>
                <a:lnTo>
                  <a:pt x="3811" y="1343"/>
                </a:lnTo>
                <a:lnTo>
                  <a:pt x="3810" y="1339"/>
                </a:lnTo>
                <a:lnTo>
                  <a:pt x="3809" y="1337"/>
                </a:lnTo>
                <a:lnTo>
                  <a:pt x="3806" y="1332"/>
                </a:lnTo>
                <a:lnTo>
                  <a:pt x="3806" y="1330"/>
                </a:lnTo>
                <a:lnTo>
                  <a:pt x="3805" y="1328"/>
                </a:lnTo>
                <a:lnTo>
                  <a:pt x="3805" y="1326"/>
                </a:lnTo>
                <a:lnTo>
                  <a:pt x="3804" y="1322"/>
                </a:lnTo>
                <a:lnTo>
                  <a:pt x="3803" y="1306"/>
                </a:lnTo>
                <a:lnTo>
                  <a:pt x="3803" y="1276"/>
                </a:lnTo>
                <a:lnTo>
                  <a:pt x="3803" y="1112"/>
                </a:lnTo>
                <a:lnTo>
                  <a:pt x="3786" y="1112"/>
                </a:lnTo>
                <a:lnTo>
                  <a:pt x="3777" y="1112"/>
                </a:lnTo>
                <a:lnTo>
                  <a:pt x="3774" y="1111"/>
                </a:lnTo>
                <a:lnTo>
                  <a:pt x="3771" y="1110"/>
                </a:lnTo>
                <a:lnTo>
                  <a:pt x="3769" y="1108"/>
                </a:lnTo>
                <a:lnTo>
                  <a:pt x="3768" y="1107"/>
                </a:lnTo>
                <a:lnTo>
                  <a:pt x="3768" y="1106"/>
                </a:lnTo>
                <a:lnTo>
                  <a:pt x="3765" y="1105"/>
                </a:lnTo>
                <a:lnTo>
                  <a:pt x="3765" y="1101"/>
                </a:lnTo>
                <a:lnTo>
                  <a:pt x="3764" y="1099"/>
                </a:lnTo>
                <a:lnTo>
                  <a:pt x="3764" y="1096"/>
                </a:lnTo>
                <a:lnTo>
                  <a:pt x="3765" y="1091"/>
                </a:lnTo>
                <a:lnTo>
                  <a:pt x="3766" y="1090"/>
                </a:lnTo>
                <a:lnTo>
                  <a:pt x="3768" y="1088"/>
                </a:lnTo>
                <a:lnTo>
                  <a:pt x="3770" y="1085"/>
                </a:lnTo>
                <a:lnTo>
                  <a:pt x="3771" y="1084"/>
                </a:lnTo>
                <a:lnTo>
                  <a:pt x="3775" y="1083"/>
                </a:lnTo>
                <a:lnTo>
                  <a:pt x="3778" y="1081"/>
                </a:lnTo>
                <a:lnTo>
                  <a:pt x="3782" y="1080"/>
                </a:lnTo>
                <a:lnTo>
                  <a:pt x="3784" y="1079"/>
                </a:lnTo>
                <a:lnTo>
                  <a:pt x="3787" y="1078"/>
                </a:lnTo>
                <a:lnTo>
                  <a:pt x="3793" y="1077"/>
                </a:lnTo>
                <a:lnTo>
                  <a:pt x="3800" y="1073"/>
                </a:lnTo>
                <a:lnTo>
                  <a:pt x="3801" y="1073"/>
                </a:lnTo>
                <a:lnTo>
                  <a:pt x="3805" y="1069"/>
                </a:lnTo>
                <a:lnTo>
                  <a:pt x="3806" y="1067"/>
                </a:lnTo>
                <a:lnTo>
                  <a:pt x="3807" y="1063"/>
                </a:lnTo>
                <a:lnTo>
                  <a:pt x="3810" y="1058"/>
                </a:lnTo>
                <a:lnTo>
                  <a:pt x="3810" y="1056"/>
                </a:lnTo>
                <a:lnTo>
                  <a:pt x="3811" y="1052"/>
                </a:lnTo>
                <a:lnTo>
                  <a:pt x="3811" y="1046"/>
                </a:lnTo>
                <a:lnTo>
                  <a:pt x="3811" y="1039"/>
                </a:lnTo>
                <a:lnTo>
                  <a:pt x="3812" y="1031"/>
                </a:lnTo>
                <a:lnTo>
                  <a:pt x="3812" y="1028"/>
                </a:lnTo>
                <a:lnTo>
                  <a:pt x="3813" y="1024"/>
                </a:lnTo>
                <a:lnTo>
                  <a:pt x="3815" y="1019"/>
                </a:lnTo>
                <a:lnTo>
                  <a:pt x="3816" y="1016"/>
                </a:lnTo>
                <a:lnTo>
                  <a:pt x="3817" y="1013"/>
                </a:lnTo>
                <a:lnTo>
                  <a:pt x="3818" y="1012"/>
                </a:lnTo>
                <a:lnTo>
                  <a:pt x="3823" y="1007"/>
                </a:lnTo>
                <a:lnTo>
                  <a:pt x="3826" y="1006"/>
                </a:lnTo>
                <a:lnTo>
                  <a:pt x="3828" y="1006"/>
                </a:lnTo>
                <a:lnTo>
                  <a:pt x="3832" y="1006"/>
                </a:lnTo>
                <a:lnTo>
                  <a:pt x="3835" y="1007"/>
                </a:lnTo>
                <a:lnTo>
                  <a:pt x="3836" y="1007"/>
                </a:lnTo>
                <a:lnTo>
                  <a:pt x="3839" y="1011"/>
                </a:lnTo>
                <a:lnTo>
                  <a:pt x="3841" y="1012"/>
                </a:lnTo>
                <a:lnTo>
                  <a:pt x="3842" y="1014"/>
                </a:lnTo>
                <a:lnTo>
                  <a:pt x="3842" y="1017"/>
                </a:lnTo>
                <a:lnTo>
                  <a:pt x="3844" y="1020"/>
                </a:lnTo>
                <a:lnTo>
                  <a:pt x="3844" y="1027"/>
                </a:lnTo>
                <a:lnTo>
                  <a:pt x="3844" y="1034"/>
                </a:lnTo>
                <a:lnTo>
                  <a:pt x="3844" y="1075"/>
                </a:lnTo>
                <a:close/>
                <a:moveTo>
                  <a:pt x="1020" y="1075"/>
                </a:moveTo>
                <a:lnTo>
                  <a:pt x="1090" y="1075"/>
                </a:lnTo>
                <a:lnTo>
                  <a:pt x="1081" y="1112"/>
                </a:lnTo>
                <a:lnTo>
                  <a:pt x="1020" y="1112"/>
                </a:lnTo>
                <a:lnTo>
                  <a:pt x="1020" y="1249"/>
                </a:lnTo>
                <a:lnTo>
                  <a:pt x="1020" y="1290"/>
                </a:lnTo>
                <a:lnTo>
                  <a:pt x="1020" y="1310"/>
                </a:lnTo>
                <a:lnTo>
                  <a:pt x="1024" y="1321"/>
                </a:lnTo>
                <a:lnTo>
                  <a:pt x="1025" y="1322"/>
                </a:lnTo>
                <a:lnTo>
                  <a:pt x="1026" y="1324"/>
                </a:lnTo>
                <a:lnTo>
                  <a:pt x="1027" y="1326"/>
                </a:lnTo>
                <a:lnTo>
                  <a:pt x="1029" y="1326"/>
                </a:lnTo>
                <a:lnTo>
                  <a:pt x="1030" y="1327"/>
                </a:lnTo>
                <a:lnTo>
                  <a:pt x="1035" y="1329"/>
                </a:lnTo>
                <a:lnTo>
                  <a:pt x="1037" y="1330"/>
                </a:lnTo>
                <a:lnTo>
                  <a:pt x="1038" y="1330"/>
                </a:lnTo>
                <a:lnTo>
                  <a:pt x="1041" y="1332"/>
                </a:lnTo>
                <a:lnTo>
                  <a:pt x="1047" y="1332"/>
                </a:lnTo>
                <a:lnTo>
                  <a:pt x="1049" y="1333"/>
                </a:lnTo>
                <a:lnTo>
                  <a:pt x="1053" y="1333"/>
                </a:lnTo>
                <a:lnTo>
                  <a:pt x="1060" y="1332"/>
                </a:lnTo>
                <a:lnTo>
                  <a:pt x="1065" y="1330"/>
                </a:lnTo>
                <a:lnTo>
                  <a:pt x="1066" y="1329"/>
                </a:lnTo>
                <a:lnTo>
                  <a:pt x="1068" y="1329"/>
                </a:lnTo>
                <a:lnTo>
                  <a:pt x="1070" y="1328"/>
                </a:lnTo>
                <a:lnTo>
                  <a:pt x="1073" y="1327"/>
                </a:lnTo>
                <a:lnTo>
                  <a:pt x="1078" y="1326"/>
                </a:lnTo>
                <a:lnTo>
                  <a:pt x="1081" y="1324"/>
                </a:lnTo>
                <a:lnTo>
                  <a:pt x="1083" y="1323"/>
                </a:lnTo>
                <a:lnTo>
                  <a:pt x="1084" y="1323"/>
                </a:lnTo>
                <a:lnTo>
                  <a:pt x="1089" y="1322"/>
                </a:lnTo>
                <a:lnTo>
                  <a:pt x="1091" y="1322"/>
                </a:lnTo>
                <a:lnTo>
                  <a:pt x="1099" y="1324"/>
                </a:lnTo>
                <a:lnTo>
                  <a:pt x="1100" y="1327"/>
                </a:lnTo>
                <a:lnTo>
                  <a:pt x="1102" y="1333"/>
                </a:lnTo>
                <a:lnTo>
                  <a:pt x="1104" y="1335"/>
                </a:lnTo>
                <a:lnTo>
                  <a:pt x="1104" y="1338"/>
                </a:lnTo>
                <a:lnTo>
                  <a:pt x="1101" y="1341"/>
                </a:lnTo>
                <a:lnTo>
                  <a:pt x="1100" y="1344"/>
                </a:lnTo>
                <a:lnTo>
                  <a:pt x="1099" y="1345"/>
                </a:lnTo>
                <a:lnTo>
                  <a:pt x="1098" y="1348"/>
                </a:lnTo>
                <a:lnTo>
                  <a:pt x="1095" y="1350"/>
                </a:lnTo>
                <a:lnTo>
                  <a:pt x="1093" y="1352"/>
                </a:lnTo>
                <a:lnTo>
                  <a:pt x="1090" y="1354"/>
                </a:lnTo>
                <a:lnTo>
                  <a:pt x="1088" y="1355"/>
                </a:lnTo>
                <a:lnTo>
                  <a:pt x="1084" y="1356"/>
                </a:lnTo>
                <a:lnTo>
                  <a:pt x="1079" y="1360"/>
                </a:lnTo>
                <a:lnTo>
                  <a:pt x="1077" y="1361"/>
                </a:lnTo>
                <a:lnTo>
                  <a:pt x="1073" y="1362"/>
                </a:lnTo>
                <a:lnTo>
                  <a:pt x="1056" y="1367"/>
                </a:lnTo>
                <a:lnTo>
                  <a:pt x="1054" y="1367"/>
                </a:lnTo>
                <a:lnTo>
                  <a:pt x="1050" y="1367"/>
                </a:lnTo>
                <a:lnTo>
                  <a:pt x="1044" y="1368"/>
                </a:lnTo>
                <a:lnTo>
                  <a:pt x="1041" y="1368"/>
                </a:lnTo>
                <a:lnTo>
                  <a:pt x="1037" y="1370"/>
                </a:lnTo>
                <a:lnTo>
                  <a:pt x="1033" y="1368"/>
                </a:lnTo>
                <a:lnTo>
                  <a:pt x="1030" y="1368"/>
                </a:lnTo>
                <a:lnTo>
                  <a:pt x="1026" y="1368"/>
                </a:lnTo>
                <a:lnTo>
                  <a:pt x="1021" y="1367"/>
                </a:lnTo>
                <a:lnTo>
                  <a:pt x="1018" y="1366"/>
                </a:lnTo>
                <a:lnTo>
                  <a:pt x="1014" y="1365"/>
                </a:lnTo>
                <a:lnTo>
                  <a:pt x="1012" y="1363"/>
                </a:lnTo>
                <a:lnTo>
                  <a:pt x="1009" y="1362"/>
                </a:lnTo>
                <a:lnTo>
                  <a:pt x="1007" y="1361"/>
                </a:lnTo>
                <a:lnTo>
                  <a:pt x="1003" y="1360"/>
                </a:lnTo>
                <a:lnTo>
                  <a:pt x="1002" y="1359"/>
                </a:lnTo>
                <a:lnTo>
                  <a:pt x="1001" y="1356"/>
                </a:lnTo>
                <a:lnTo>
                  <a:pt x="997" y="1354"/>
                </a:lnTo>
                <a:lnTo>
                  <a:pt x="996" y="1352"/>
                </a:lnTo>
                <a:lnTo>
                  <a:pt x="992" y="1350"/>
                </a:lnTo>
                <a:lnTo>
                  <a:pt x="990" y="1346"/>
                </a:lnTo>
                <a:lnTo>
                  <a:pt x="989" y="1345"/>
                </a:lnTo>
                <a:lnTo>
                  <a:pt x="988" y="1343"/>
                </a:lnTo>
                <a:lnTo>
                  <a:pt x="986" y="1340"/>
                </a:lnTo>
                <a:lnTo>
                  <a:pt x="984" y="1335"/>
                </a:lnTo>
                <a:lnTo>
                  <a:pt x="983" y="1332"/>
                </a:lnTo>
                <a:lnTo>
                  <a:pt x="983" y="1330"/>
                </a:lnTo>
                <a:lnTo>
                  <a:pt x="981" y="1328"/>
                </a:lnTo>
                <a:lnTo>
                  <a:pt x="981" y="1326"/>
                </a:lnTo>
                <a:lnTo>
                  <a:pt x="980" y="1322"/>
                </a:lnTo>
                <a:lnTo>
                  <a:pt x="979" y="1306"/>
                </a:lnTo>
                <a:lnTo>
                  <a:pt x="979" y="1274"/>
                </a:lnTo>
                <a:lnTo>
                  <a:pt x="979" y="1112"/>
                </a:lnTo>
                <a:lnTo>
                  <a:pt x="968" y="1112"/>
                </a:lnTo>
                <a:lnTo>
                  <a:pt x="962" y="1112"/>
                </a:lnTo>
                <a:lnTo>
                  <a:pt x="956" y="1112"/>
                </a:lnTo>
                <a:lnTo>
                  <a:pt x="950" y="1111"/>
                </a:lnTo>
                <a:lnTo>
                  <a:pt x="946" y="1110"/>
                </a:lnTo>
                <a:lnTo>
                  <a:pt x="944" y="1108"/>
                </a:lnTo>
                <a:lnTo>
                  <a:pt x="943" y="1106"/>
                </a:lnTo>
                <a:lnTo>
                  <a:pt x="942" y="1105"/>
                </a:lnTo>
                <a:lnTo>
                  <a:pt x="942" y="1102"/>
                </a:lnTo>
                <a:lnTo>
                  <a:pt x="940" y="1101"/>
                </a:lnTo>
                <a:lnTo>
                  <a:pt x="940" y="1099"/>
                </a:lnTo>
                <a:lnTo>
                  <a:pt x="940" y="1097"/>
                </a:lnTo>
                <a:lnTo>
                  <a:pt x="942" y="1094"/>
                </a:lnTo>
                <a:lnTo>
                  <a:pt x="943" y="1090"/>
                </a:lnTo>
                <a:lnTo>
                  <a:pt x="944" y="1088"/>
                </a:lnTo>
                <a:lnTo>
                  <a:pt x="946" y="1086"/>
                </a:lnTo>
                <a:lnTo>
                  <a:pt x="951" y="1084"/>
                </a:lnTo>
                <a:lnTo>
                  <a:pt x="954" y="1083"/>
                </a:lnTo>
                <a:lnTo>
                  <a:pt x="956" y="1081"/>
                </a:lnTo>
                <a:lnTo>
                  <a:pt x="963" y="1079"/>
                </a:lnTo>
                <a:lnTo>
                  <a:pt x="966" y="1078"/>
                </a:lnTo>
                <a:lnTo>
                  <a:pt x="971" y="1075"/>
                </a:lnTo>
                <a:lnTo>
                  <a:pt x="974" y="1074"/>
                </a:lnTo>
                <a:lnTo>
                  <a:pt x="977" y="1073"/>
                </a:lnTo>
                <a:lnTo>
                  <a:pt x="978" y="1072"/>
                </a:lnTo>
                <a:lnTo>
                  <a:pt x="980" y="1071"/>
                </a:lnTo>
                <a:lnTo>
                  <a:pt x="983" y="1068"/>
                </a:lnTo>
                <a:lnTo>
                  <a:pt x="983" y="1067"/>
                </a:lnTo>
                <a:lnTo>
                  <a:pt x="984" y="1063"/>
                </a:lnTo>
                <a:lnTo>
                  <a:pt x="986" y="1056"/>
                </a:lnTo>
                <a:lnTo>
                  <a:pt x="988" y="1049"/>
                </a:lnTo>
                <a:lnTo>
                  <a:pt x="989" y="1030"/>
                </a:lnTo>
                <a:lnTo>
                  <a:pt x="990" y="1022"/>
                </a:lnTo>
                <a:lnTo>
                  <a:pt x="992" y="1014"/>
                </a:lnTo>
                <a:lnTo>
                  <a:pt x="995" y="1012"/>
                </a:lnTo>
                <a:lnTo>
                  <a:pt x="997" y="1009"/>
                </a:lnTo>
                <a:lnTo>
                  <a:pt x="1000" y="1007"/>
                </a:lnTo>
                <a:lnTo>
                  <a:pt x="1002" y="1006"/>
                </a:lnTo>
                <a:lnTo>
                  <a:pt x="1007" y="1006"/>
                </a:lnTo>
                <a:lnTo>
                  <a:pt x="1010" y="1007"/>
                </a:lnTo>
                <a:lnTo>
                  <a:pt x="1014" y="1008"/>
                </a:lnTo>
                <a:lnTo>
                  <a:pt x="1017" y="1011"/>
                </a:lnTo>
                <a:lnTo>
                  <a:pt x="1018" y="1013"/>
                </a:lnTo>
                <a:lnTo>
                  <a:pt x="1019" y="1014"/>
                </a:lnTo>
                <a:lnTo>
                  <a:pt x="1019" y="1017"/>
                </a:lnTo>
                <a:lnTo>
                  <a:pt x="1020" y="1023"/>
                </a:lnTo>
                <a:lnTo>
                  <a:pt x="1020" y="1035"/>
                </a:lnTo>
                <a:lnTo>
                  <a:pt x="1020" y="1075"/>
                </a:lnTo>
                <a:close/>
                <a:moveTo>
                  <a:pt x="359" y="1074"/>
                </a:moveTo>
                <a:lnTo>
                  <a:pt x="429" y="1074"/>
                </a:lnTo>
                <a:lnTo>
                  <a:pt x="428" y="1077"/>
                </a:lnTo>
                <a:lnTo>
                  <a:pt x="428" y="1079"/>
                </a:lnTo>
                <a:lnTo>
                  <a:pt x="427" y="1084"/>
                </a:lnTo>
                <a:lnTo>
                  <a:pt x="423" y="1099"/>
                </a:lnTo>
                <a:lnTo>
                  <a:pt x="419" y="1112"/>
                </a:lnTo>
                <a:lnTo>
                  <a:pt x="359" y="1112"/>
                </a:lnTo>
                <a:lnTo>
                  <a:pt x="359" y="1268"/>
                </a:lnTo>
                <a:lnTo>
                  <a:pt x="359" y="1296"/>
                </a:lnTo>
                <a:lnTo>
                  <a:pt x="359" y="1311"/>
                </a:lnTo>
                <a:lnTo>
                  <a:pt x="363" y="1319"/>
                </a:lnTo>
                <a:lnTo>
                  <a:pt x="364" y="1322"/>
                </a:lnTo>
                <a:lnTo>
                  <a:pt x="365" y="1323"/>
                </a:lnTo>
                <a:lnTo>
                  <a:pt x="369" y="1327"/>
                </a:lnTo>
                <a:lnTo>
                  <a:pt x="373" y="1329"/>
                </a:lnTo>
                <a:lnTo>
                  <a:pt x="377" y="1330"/>
                </a:lnTo>
                <a:lnTo>
                  <a:pt x="381" y="1332"/>
                </a:lnTo>
                <a:lnTo>
                  <a:pt x="388" y="1332"/>
                </a:lnTo>
                <a:lnTo>
                  <a:pt x="395" y="1330"/>
                </a:lnTo>
                <a:lnTo>
                  <a:pt x="399" y="1330"/>
                </a:lnTo>
                <a:lnTo>
                  <a:pt x="419" y="1323"/>
                </a:lnTo>
                <a:lnTo>
                  <a:pt x="423" y="1322"/>
                </a:lnTo>
                <a:lnTo>
                  <a:pt x="427" y="1322"/>
                </a:lnTo>
                <a:lnTo>
                  <a:pt x="429" y="1322"/>
                </a:lnTo>
                <a:lnTo>
                  <a:pt x="432" y="1322"/>
                </a:lnTo>
                <a:lnTo>
                  <a:pt x="436" y="1323"/>
                </a:lnTo>
                <a:lnTo>
                  <a:pt x="439" y="1327"/>
                </a:lnTo>
                <a:lnTo>
                  <a:pt x="440" y="1328"/>
                </a:lnTo>
                <a:lnTo>
                  <a:pt x="441" y="1332"/>
                </a:lnTo>
                <a:lnTo>
                  <a:pt x="442" y="1333"/>
                </a:lnTo>
                <a:lnTo>
                  <a:pt x="442" y="1335"/>
                </a:lnTo>
                <a:lnTo>
                  <a:pt x="441" y="1339"/>
                </a:lnTo>
                <a:lnTo>
                  <a:pt x="440" y="1343"/>
                </a:lnTo>
                <a:lnTo>
                  <a:pt x="433" y="1351"/>
                </a:lnTo>
                <a:lnTo>
                  <a:pt x="430" y="1352"/>
                </a:lnTo>
                <a:lnTo>
                  <a:pt x="429" y="1354"/>
                </a:lnTo>
                <a:lnTo>
                  <a:pt x="427" y="1355"/>
                </a:lnTo>
                <a:lnTo>
                  <a:pt x="424" y="1355"/>
                </a:lnTo>
                <a:lnTo>
                  <a:pt x="422" y="1357"/>
                </a:lnTo>
                <a:lnTo>
                  <a:pt x="418" y="1359"/>
                </a:lnTo>
                <a:lnTo>
                  <a:pt x="417" y="1360"/>
                </a:lnTo>
                <a:lnTo>
                  <a:pt x="412" y="1361"/>
                </a:lnTo>
                <a:lnTo>
                  <a:pt x="395" y="1366"/>
                </a:lnTo>
                <a:lnTo>
                  <a:pt x="392" y="1366"/>
                </a:lnTo>
                <a:lnTo>
                  <a:pt x="388" y="1367"/>
                </a:lnTo>
                <a:lnTo>
                  <a:pt x="383" y="1367"/>
                </a:lnTo>
                <a:lnTo>
                  <a:pt x="364" y="1367"/>
                </a:lnTo>
                <a:lnTo>
                  <a:pt x="360" y="1367"/>
                </a:lnTo>
                <a:lnTo>
                  <a:pt x="358" y="1366"/>
                </a:lnTo>
                <a:lnTo>
                  <a:pt x="355" y="1366"/>
                </a:lnTo>
                <a:lnTo>
                  <a:pt x="353" y="1366"/>
                </a:lnTo>
                <a:lnTo>
                  <a:pt x="352" y="1365"/>
                </a:lnTo>
                <a:lnTo>
                  <a:pt x="349" y="1365"/>
                </a:lnTo>
                <a:lnTo>
                  <a:pt x="347" y="1363"/>
                </a:lnTo>
                <a:lnTo>
                  <a:pt x="343" y="1361"/>
                </a:lnTo>
                <a:lnTo>
                  <a:pt x="341" y="1360"/>
                </a:lnTo>
                <a:lnTo>
                  <a:pt x="338" y="1359"/>
                </a:lnTo>
                <a:lnTo>
                  <a:pt x="337" y="1356"/>
                </a:lnTo>
                <a:lnTo>
                  <a:pt x="334" y="1354"/>
                </a:lnTo>
                <a:lnTo>
                  <a:pt x="330" y="1351"/>
                </a:lnTo>
                <a:lnTo>
                  <a:pt x="330" y="1350"/>
                </a:lnTo>
                <a:lnTo>
                  <a:pt x="328" y="1348"/>
                </a:lnTo>
                <a:lnTo>
                  <a:pt x="326" y="1346"/>
                </a:lnTo>
                <a:lnTo>
                  <a:pt x="325" y="1344"/>
                </a:lnTo>
                <a:lnTo>
                  <a:pt x="324" y="1341"/>
                </a:lnTo>
                <a:lnTo>
                  <a:pt x="323" y="1338"/>
                </a:lnTo>
                <a:lnTo>
                  <a:pt x="322" y="1337"/>
                </a:lnTo>
                <a:lnTo>
                  <a:pt x="320" y="1332"/>
                </a:lnTo>
                <a:lnTo>
                  <a:pt x="319" y="1328"/>
                </a:lnTo>
                <a:lnTo>
                  <a:pt x="319" y="1324"/>
                </a:lnTo>
                <a:lnTo>
                  <a:pt x="318" y="1317"/>
                </a:lnTo>
                <a:lnTo>
                  <a:pt x="318" y="1311"/>
                </a:lnTo>
                <a:lnTo>
                  <a:pt x="318" y="1304"/>
                </a:lnTo>
                <a:lnTo>
                  <a:pt x="318" y="1279"/>
                </a:lnTo>
                <a:lnTo>
                  <a:pt x="318" y="1112"/>
                </a:lnTo>
                <a:lnTo>
                  <a:pt x="307" y="1112"/>
                </a:lnTo>
                <a:lnTo>
                  <a:pt x="301" y="1112"/>
                </a:lnTo>
                <a:lnTo>
                  <a:pt x="295" y="1111"/>
                </a:lnTo>
                <a:lnTo>
                  <a:pt x="290" y="1111"/>
                </a:lnTo>
                <a:lnTo>
                  <a:pt x="285" y="1108"/>
                </a:lnTo>
                <a:lnTo>
                  <a:pt x="283" y="1107"/>
                </a:lnTo>
                <a:lnTo>
                  <a:pt x="282" y="1105"/>
                </a:lnTo>
                <a:lnTo>
                  <a:pt x="280" y="1103"/>
                </a:lnTo>
                <a:lnTo>
                  <a:pt x="279" y="1102"/>
                </a:lnTo>
                <a:lnTo>
                  <a:pt x="279" y="1100"/>
                </a:lnTo>
                <a:lnTo>
                  <a:pt x="279" y="1095"/>
                </a:lnTo>
                <a:lnTo>
                  <a:pt x="280" y="1090"/>
                </a:lnTo>
                <a:lnTo>
                  <a:pt x="282" y="1089"/>
                </a:lnTo>
                <a:lnTo>
                  <a:pt x="283" y="1088"/>
                </a:lnTo>
                <a:lnTo>
                  <a:pt x="285" y="1086"/>
                </a:lnTo>
                <a:lnTo>
                  <a:pt x="286" y="1085"/>
                </a:lnTo>
                <a:lnTo>
                  <a:pt x="289" y="1083"/>
                </a:lnTo>
                <a:lnTo>
                  <a:pt x="291" y="1081"/>
                </a:lnTo>
                <a:lnTo>
                  <a:pt x="297" y="1080"/>
                </a:lnTo>
                <a:lnTo>
                  <a:pt x="303" y="1078"/>
                </a:lnTo>
                <a:lnTo>
                  <a:pt x="309" y="1075"/>
                </a:lnTo>
                <a:lnTo>
                  <a:pt x="313" y="1074"/>
                </a:lnTo>
                <a:lnTo>
                  <a:pt x="314" y="1073"/>
                </a:lnTo>
                <a:lnTo>
                  <a:pt x="315" y="1072"/>
                </a:lnTo>
                <a:lnTo>
                  <a:pt x="319" y="1069"/>
                </a:lnTo>
                <a:lnTo>
                  <a:pt x="320" y="1068"/>
                </a:lnTo>
                <a:lnTo>
                  <a:pt x="322" y="1066"/>
                </a:lnTo>
                <a:lnTo>
                  <a:pt x="323" y="1062"/>
                </a:lnTo>
                <a:lnTo>
                  <a:pt x="324" y="1058"/>
                </a:lnTo>
                <a:lnTo>
                  <a:pt x="325" y="1056"/>
                </a:lnTo>
                <a:lnTo>
                  <a:pt x="325" y="1053"/>
                </a:lnTo>
                <a:lnTo>
                  <a:pt x="326" y="1049"/>
                </a:lnTo>
                <a:lnTo>
                  <a:pt x="326" y="1042"/>
                </a:lnTo>
                <a:lnTo>
                  <a:pt x="328" y="1029"/>
                </a:lnTo>
                <a:lnTo>
                  <a:pt x="330" y="1016"/>
                </a:lnTo>
                <a:lnTo>
                  <a:pt x="331" y="1013"/>
                </a:lnTo>
                <a:lnTo>
                  <a:pt x="334" y="1011"/>
                </a:lnTo>
                <a:lnTo>
                  <a:pt x="337" y="1007"/>
                </a:lnTo>
                <a:lnTo>
                  <a:pt x="340" y="1006"/>
                </a:lnTo>
                <a:lnTo>
                  <a:pt x="341" y="1006"/>
                </a:lnTo>
                <a:lnTo>
                  <a:pt x="343" y="1005"/>
                </a:lnTo>
                <a:lnTo>
                  <a:pt x="346" y="1005"/>
                </a:lnTo>
                <a:lnTo>
                  <a:pt x="348" y="1006"/>
                </a:lnTo>
                <a:lnTo>
                  <a:pt x="349" y="1006"/>
                </a:lnTo>
                <a:lnTo>
                  <a:pt x="352" y="1008"/>
                </a:lnTo>
                <a:lnTo>
                  <a:pt x="355" y="1011"/>
                </a:lnTo>
                <a:lnTo>
                  <a:pt x="357" y="1014"/>
                </a:lnTo>
                <a:lnTo>
                  <a:pt x="359" y="1017"/>
                </a:lnTo>
                <a:lnTo>
                  <a:pt x="359" y="1022"/>
                </a:lnTo>
                <a:lnTo>
                  <a:pt x="359" y="1025"/>
                </a:lnTo>
                <a:lnTo>
                  <a:pt x="359" y="1030"/>
                </a:lnTo>
                <a:lnTo>
                  <a:pt x="359" y="1040"/>
                </a:lnTo>
                <a:lnTo>
                  <a:pt x="359" y="1074"/>
                </a:lnTo>
                <a:close/>
                <a:moveTo>
                  <a:pt x="3668" y="962"/>
                </a:moveTo>
                <a:lnTo>
                  <a:pt x="3681" y="963"/>
                </a:lnTo>
                <a:lnTo>
                  <a:pt x="3682" y="966"/>
                </a:lnTo>
                <a:lnTo>
                  <a:pt x="3683" y="968"/>
                </a:lnTo>
                <a:lnTo>
                  <a:pt x="3684" y="970"/>
                </a:lnTo>
                <a:lnTo>
                  <a:pt x="3684" y="974"/>
                </a:lnTo>
                <a:lnTo>
                  <a:pt x="3684" y="979"/>
                </a:lnTo>
                <a:lnTo>
                  <a:pt x="3684" y="1000"/>
                </a:lnTo>
                <a:lnTo>
                  <a:pt x="3684" y="1064"/>
                </a:lnTo>
                <a:lnTo>
                  <a:pt x="3684" y="1239"/>
                </a:lnTo>
                <a:lnTo>
                  <a:pt x="3684" y="1295"/>
                </a:lnTo>
                <a:lnTo>
                  <a:pt x="3684" y="1312"/>
                </a:lnTo>
                <a:lnTo>
                  <a:pt x="3685" y="1321"/>
                </a:lnTo>
                <a:lnTo>
                  <a:pt x="3685" y="1328"/>
                </a:lnTo>
                <a:lnTo>
                  <a:pt x="3689" y="1330"/>
                </a:lnTo>
                <a:lnTo>
                  <a:pt x="3691" y="1330"/>
                </a:lnTo>
                <a:lnTo>
                  <a:pt x="3697" y="1333"/>
                </a:lnTo>
                <a:lnTo>
                  <a:pt x="3702" y="1335"/>
                </a:lnTo>
                <a:lnTo>
                  <a:pt x="3706" y="1337"/>
                </a:lnTo>
                <a:lnTo>
                  <a:pt x="3712" y="1338"/>
                </a:lnTo>
                <a:lnTo>
                  <a:pt x="3714" y="1339"/>
                </a:lnTo>
                <a:lnTo>
                  <a:pt x="3722" y="1343"/>
                </a:lnTo>
                <a:lnTo>
                  <a:pt x="3724" y="1344"/>
                </a:lnTo>
                <a:lnTo>
                  <a:pt x="3725" y="1345"/>
                </a:lnTo>
                <a:lnTo>
                  <a:pt x="3725" y="1348"/>
                </a:lnTo>
                <a:lnTo>
                  <a:pt x="3726" y="1351"/>
                </a:lnTo>
                <a:lnTo>
                  <a:pt x="3726" y="1356"/>
                </a:lnTo>
                <a:lnTo>
                  <a:pt x="3725" y="1359"/>
                </a:lnTo>
                <a:lnTo>
                  <a:pt x="3722" y="1362"/>
                </a:lnTo>
                <a:lnTo>
                  <a:pt x="3717" y="1363"/>
                </a:lnTo>
                <a:lnTo>
                  <a:pt x="3689" y="1365"/>
                </a:lnTo>
                <a:lnTo>
                  <a:pt x="3633" y="1365"/>
                </a:lnTo>
                <a:lnTo>
                  <a:pt x="3620" y="1365"/>
                </a:lnTo>
                <a:lnTo>
                  <a:pt x="3614" y="1365"/>
                </a:lnTo>
                <a:lnTo>
                  <a:pt x="3608" y="1363"/>
                </a:lnTo>
                <a:lnTo>
                  <a:pt x="3603" y="1359"/>
                </a:lnTo>
                <a:lnTo>
                  <a:pt x="3603" y="1357"/>
                </a:lnTo>
                <a:lnTo>
                  <a:pt x="3602" y="1356"/>
                </a:lnTo>
                <a:lnTo>
                  <a:pt x="3602" y="1351"/>
                </a:lnTo>
                <a:lnTo>
                  <a:pt x="3603" y="1346"/>
                </a:lnTo>
                <a:lnTo>
                  <a:pt x="3604" y="1345"/>
                </a:lnTo>
                <a:lnTo>
                  <a:pt x="3607" y="1344"/>
                </a:lnTo>
                <a:lnTo>
                  <a:pt x="3609" y="1341"/>
                </a:lnTo>
                <a:lnTo>
                  <a:pt x="3610" y="1341"/>
                </a:lnTo>
                <a:lnTo>
                  <a:pt x="3613" y="1340"/>
                </a:lnTo>
                <a:lnTo>
                  <a:pt x="3614" y="1340"/>
                </a:lnTo>
                <a:lnTo>
                  <a:pt x="3616" y="1339"/>
                </a:lnTo>
                <a:lnTo>
                  <a:pt x="3621" y="1338"/>
                </a:lnTo>
                <a:lnTo>
                  <a:pt x="3622" y="1337"/>
                </a:lnTo>
                <a:lnTo>
                  <a:pt x="3625" y="1337"/>
                </a:lnTo>
                <a:lnTo>
                  <a:pt x="3631" y="1334"/>
                </a:lnTo>
                <a:lnTo>
                  <a:pt x="3635" y="1333"/>
                </a:lnTo>
                <a:lnTo>
                  <a:pt x="3638" y="1330"/>
                </a:lnTo>
                <a:lnTo>
                  <a:pt x="3642" y="1329"/>
                </a:lnTo>
                <a:lnTo>
                  <a:pt x="3643" y="1328"/>
                </a:lnTo>
                <a:lnTo>
                  <a:pt x="3643" y="1327"/>
                </a:lnTo>
                <a:lnTo>
                  <a:pt x="3644" y="1326"/>
                </a:lnTo>
                <a:lnTo>
                  <a:pt x="3644" y="1323"/>
                </a:lnTo>
                <a:lnTo>
                  <a:pt x="3644" y="1317"/>
                </a:lnTo>
                <a:lnTo>
                  <a:pt x="3644" y="1306"/>
                </a:lnTo>
                <a:lnTo>
                  <a:pt x="3644" y="1249"/>
                </a:lnTo>
                <a:lnTo>
                  <a:pt x="3644" y="1091"/>
                </a:lnTo>
                <a:lnTo>
                  <a:pt x="3644" y="1040"/>
                </a:lnTo>
                <a:lnTo>
                  <a:pt x="3644" y="1027"/>
                </a:lnTo>
                <a:lnTo>
                  <a:pt x="3644" y="1019"/>
                </a:lnTo>
                <a:lnTo>
                  <a:pt x="3644" y="1013"/>
                </a:lnTo>
                <a:lnTo>
                  <a:pt x="3642" y="1012"/>
                </a:lnTo>
                <a:lnTo>
                  <a:pt x="3638" y="1012"/>
                </a:lnTo>
                <a:lnTo>
                  <a:pt x="3632" y="1012"/>
                </a:lnTo>
                <a:lnTo>
                  <a:pt x="3609" y="1012"/>
                </a:lnTo>
                <a:lnTo>
                  <a:pt x="3608" y="1012"/>
                </a:lnTo>
                <a:lnTo>
                  <a:pt x="3606" y="1009"/>
                </a:lnTo>
                <a:lnTo>
                  <a:pt x="3604" y="1008"/>
                </a:lnTo>
                <a:lnTo>
                  <a:pt x="3603" y="1006"/>
                </a:lnTo>
                <a:lnTo>
                  <a:pt x="3603" y="1003"/>
                </a:lnTo>
                <a:lnTo>
                  <a:pt x="3603" y="1001"/>
                </a:lnTo>
                <a:lnTo>
                  <a:pt x="3604" y="999"/>
                </a:lnTo>
                <a:lnTo>
                  <a:pt x="3604" y="996"/>
                </a:lnTo>
                <a:lnTo>
                  <a:pt x="3607" y="994"/>
                </a:lnTo>
                <a:lnTo>
                  <a:pt x="3612" y="991"/>
                </a:lnTo>
                <a:lnTo>
                  <a:pt x="3621" y="986"/>
                </a:lnTo>
                <a:lnTo>
                  <a:pt x="3624" y="985"/>
                </a:lnTo>
                <a:lnTo>
                  <a:pt x="3626" y="984"/>
                </a:lnTo>
                <a:lnTo>
                  <a:pt x="3630" y="983"/>
                </a:lnTo>
                <a:lnTo>
                  <a:pt x="3632" y="981"/>
                </a:lnTo>
                <a:lnTo>
                  <a:pt x="3635" y="980"/>
                </a:lnTo>
                <a:lnTo>
                  <a:pt x="3637" y="979"/>
                </a:lnTo>
                <a:lnTo>
                  <a:pt x="3638" y="978"/>
                </a:lnTo>
                <a:lnTo>
                  <a:pt x="3641" y="977"/>
                </a:lnTo>
                <a:lnTo>
                  <a:pt x="3643" y="975"/>
                </a:lnTo>
                <a:lnTo>
                  <a:pt x="3645" y="974"/>
                </a:lnTo>
                <a:lnTo>
                  <a:pt x="3648" y="973"/>
                </a:lnTo>
                <a:lnTo>
                  <a:pt x="3650" y="970"/>
                </a:lnTo>
                <a:lnTo>
                  <a:pt x="3651" y="970"/>
                </a:lnTo>
                <a:lnTo>
                  <a:pt x="3654" y="969"/>
                </a:lnTo>
                <a:lnTo>
                  <a:pt x="3656" y="968"/>
                </a:lnTo>
                <a:lnTo>
                  <a:pt x="3659" y="967"/>
                </a:lnTo>
                <a:lnTo>
                  <a:pt x="3664" y="964"/>
                </a:lnTo>
                <a:lnTo>
                  <a:pt x="3666" y="964"/>
                </a:lnTo>
                <a:lnTo>
                  <a:pt x="3668" y="963"/>
                </a:lnTo>
                <a:lnTo>
                  <a:pt x="3668" y="962"/>
                </a:lnTo>
                <a:close/>
                <a:moveTo>
                  <a:pt x="2161" y="1321"/>
                </a:moveTo>
                <a:lnTo>
                  <a:pt x="2154" y="1312"/>
                </a:lnTo>
                <a:lnTo>
                  <a:pt x="2150" y="1308"/>
                </a:lnTo>
                <a:lnTo>
                  <a:pt x="2150" y="1307"/>
                </a:lnTo>
                <a:lnTo>
                  <a:pt x="2148" y="1306"/>
                </a:lnTo>
                <a:lnTo>
                  <a:pt x="2147" y="1304"/>
                </a:lnTo>
                <a:lnTo>
                  <a:pt x="2144" y="1301"/>
                </a:lnTo>
                <a:lnTo>
                  <a:pt x="2143" y="1299"/>
                </a:lnTo>
                <a:lnTo>
                  <a:pt x="2142" y="1296"/>
                </a:lnTo>
                <a:lnTo>
                  <a:pt x="2142" y="1295"/>
                </a:lnTo>
                <a:lnTo>
                  <a:pt x="2139" y="1293"/>
                </a:lnTo>
                <a:lnTo>
                  <a:pt x="2138" y="1291"/>
                </a:lnTo>
                <a:lnTo>
                  <a:pt x="2137" y="1290"/>
                </a:lnTo>
                <a:lnTo>
                  <a:pt x="2137" y="1288"/>
                </a:lnTo>
                <a:lnTo>
                  <a:pt x="2136" y="1285"/>
                </a:lnTo>
                <a:lnTo>
                  <a:pt x="2133" y="1284"/>
                </a:lnTo>
                <a:lnTo>
                  <a:pt x="2133" y="1282"/>
                </a:lnTo>
                <a:lnTo>
                  <a:pt x="2132" y="1279"/>
                </a:lnTo>
                <a:lnTo>
                  <a:pt x="2131" y="1278"/>
                </a:lnTo>
                <a:lnTo>
                  <a:pt x="2130" y="1276"/>
                </a:lnTo>
                <a:lnTo>
                  <a:pt x="2129" y="1273"/>
                </a:lnTo>
                <a:lnTo>
                  <a:pt x="2126" y="1268"/>
                </a:lnTo>
                <a:lnTo>
                  <a:pt x="2125" y="1265"/>
                </a:lnTo>
                <a:lnTo>
                  <a:pt x="2124" y="1263"/>
                </a:lnTo>
                <a:lnTo>
                  <a:pt x="2124" y="1261"/>
                </a:lnTo>
                <a:lnTo>
                  <a:pt x="2121" y="1257"/>
                </a:lnTo>
                <a:lnTo>
                  <a:pt x="2121" y="1255"/>
                </a:lnTo>
                <a:lnTo>
                  <a:pt x="2119" y="1249"/>
                </a:lnTo>
                <a:lnTo>
                  <a:pt x="2118" y="1247"/>
                </a:lnTo>
                <a:lnTo>
                  <a:pt x="2118" y="1245"/>
                </a:lnTo>
                <a:lnTo>
                  <a:pt x="2116" y="1244"/>
                </a:lnTo>
                <a:lnTo>
                  <a:pt x="2116" y="1241"/>
                </a:lnTo>
                <a:lnTo>
                  <a:pt x="2115" y="1240"/>
                </a:lnTo>
                <a:lnTo>
                  <a:pt x="2115" y="1238"/>
                </a:lnTo>
                <a:lnTo>
                  <a:pt x="2114" y="1234"/>
                </a:lnTo>
                <a:lnTo>
                  <a:pt x="2112" y="1222"/>
                </a:lnTo>
                <a:lnTo>
                  <a:pt x="2107" y="1199"/>
                </a:lnTo>
                <a:lnTo>
                  <a:pt x="2106" y="1186"/>
                </a:lnTo>
                <a:lnTo>
                  <a:pt x="2106" y="1178"/>
                </a:lnTo>
                <a:lnTo>
                  <a:pt x="2104" y="1172"/>
                </a:lnTo>
                <a:lnTo>
                  <a:pt x="2104" y="1163"/>
                </a:lnTo>
                <a:lnTo>
                  <a:pt x="2104" y="1155"/>
                </a:lnTo>
                <a:lnTo>
                  <a:pt x="2106" y="1149"/>
                </a:lnTo>
                <a:lnTo>
                  <a:pt x="2106" y="1141"/>
                </a:lnTo>
                <a:lnTo>
                  <a:pt x="2107" y="1130"/>
                </a:lnTo>
                <a:lnTo>
                  <a:pt x="2112" y="1103"/>
                </a:lnTo>
                <a:lnTo>
                  <a:pt x="2113" y="1100"/>
                </a:lnTo>
                <a:lnTo>
                  <a:pt x="2114" y="1095"/>
                </a:lnTo>
                <a:lnTo>
                  <a:pt x="2114" y="1094"/>
                </a:lnTo>
                <a:lnTo>
                  <a:pt x="2115" y="1091"/>
                </a:lnTo>
                <a:lnTo>
                  <a:pt x="2115" y="1090"/>
                </a:lnTo>
                <a:lnTo>
                  <a:pt x="2116" y="1088"/>
                </a:lnTo>
                <a:lnTo>
                  <a:pt x="2118" y="1083"/>
                </a:lnTo>
                <a:lnTo>
                  <a:pt x="2119" y="1080"/>
                </a:lnTo>
                <a:lnTo>
                  <a:pt x="2120" y="1077"/>
                </a:lnTo>
                <a:lnTo>
                  <a:pt x="2121" y="1074"/>
                </a:lnTo>
                <a:lnTo>
                  <a:pt x="2122" y="1072"/>
                </a:lnTo>
                <a:lnTo>
                  <a:pt x="2124" y="1071"/>
                </a:lnTo>
                <a:lnTo>
                  <a:pt x="2125" y="1067"/>
                </a:lnTo>
                <a:lnTo>
                  <a:pt x="2126" y="1064"/>
                </a:lnTo>
                <a:lnTo>
                  <a:pt x="2127" y="1062"/>
                </a:lnTo>
                <a:lnTo>
                  <a:pt x="2129" y="1060"/>
                </a:lnTo>
                <a:lnTo>
                  <a:pt x="2130" y="1057"/>
                </a:lnTo>
                <a:lnTo>
                  <a:pt x="2131" y="1055"/>
                </a:lnTo>
                <a:lnTo>
                  <a:pt x="2132" y="1053"/>
                </a:lnTo>
                <a:lnTo>
                  <a:pt x="2133" y="1050"/>
                </a:lnTo>
                <a:lnTo>
                  <a:pt x="2136" y="1046"/>
                </a:lnTo>
                <a:lnTo>
                  <a:pt x="2137" y="1045"/>
                </a:lnTo>
                <a:lnTo>
                  <a:pt x="2138" y="1044"/>
                </a:lnTo>
                <a:lnTo>
                  <a:pt x="2139" y="1041"/>
                </a:lnTo>
                <a:lnTo>
                  <a:pt x="2141" y="1040"/>
                </a:lnTo>
                <a:lnTo>
                  <a:pt x="2142" y="1038"/>
                </a:lnTo>
                <a:lnTo>
                  <a:pt x="2143" y="1036"/>
                </a:lnTo>
                <a:lnTo>
                  <a:pt x="2143" y="1034"/>
                </a:lnTo>
                <a:lnTo>
                  <a:pt x="2145" y="1031"/>
                </a:lnTo>
                <a:lnTo>
                  <a:pt x="2147" y="1030"/>
                </a:lnTo>
                <a:lnTo>
                  <a:pt x="2149" y="1029"/>
                </a:lnTo>
                <a:lnTo>
                  <a:pt x="2151" y="1025"/>
                </a:lnTo>
                <a:lnTo>
                  <a:pt x="2154" y="1022"/>
                </a:lnTo>
                <a:lnTo>
                  <a:pt x="2159" y="1017"/>
                </a:lnTo>
                <a:lnTo>
                  <a:pt x="2165" y="1009"/>
                </a:lnTo>
                <a:lnTo>
                  <a:pt x="2171" y="1003"/>
                </a:lnTo>
                <a:lnTo>
                  <a:pt x="2172" y="1002"/>
                </a:lnTo>
                <a:lnTo>
                  <a:pt x="2176" y="999"/>
                </a:lnTo>
                <a:lnTo>
                  <a:pt x="2179" y="996"/>
                </a:lnTo>
                <a:lnTo>
                  <a:pt x="2183" y="994"/>
                </a:lnTo>
                <a:lnTo>
                  <a:pt x="2184" y="992"/>
                </a:lnTo>
                <a:lnTo>
                  <a:pt x="2187" y="991"/>
                </a:lnTo>
                <a:lnTo>
                  <a:pt x="2187" y="990"/>
                </a:lnTo>
                <a:lnTo>
                  <a:pt x="2189" y="989"/>
                </a:lnTo>
                <a:lnTo>
                  <a:pt x="2190" y="988"/>
                </a:lnTo>
                <a:lnTo>
                  <a:pt x="2193" y="986"/>
                </a:lnTo>
                <a:lnTo>
                  <a:pt x="2194" y="985"/>
                </a:lnTo>
                <a:lnTo>
                  <a:pt x="2196" y="985"/>
                </a:lnTo>
                <a:lnTo>
                  <a:pt x="2197" y="984"/>
                </a:lnTo>
                <a:lnTo>
                  <a:pt x="2201" y="981"/>
                </a:lnTo>
                <a:lnTo>
                  <a:pt x="2202" y="980"/>
                </a:lnTo>
                <a:lnTo>
                  <a:pt x="2206" y="978"/>
                </a:lnTo>
                <a:lnTo>
                  <a:pt x="2208" y="977"/>
                </a:lnTo>
                <a:lnTo>
                  <a:pt x="2211" y="975"/>
                </a:lnTo>
                <a:lnTo>
                  <a:pt x="2213" y="974"/>
                </a:lnTo>
                <a:lnTo>
                  <a:pt x="2216" y="973"/>
                </a:lnTo>
                <a:lnTo>
                  <a:pt x="2217" y="972"/>
                </a:lnTo>
                <a:lnTo>
                  <a:pt x="2220" y="970"/>
                </a:lnTo>
                <a:lnTo>
                  <a:pt x="2224" y="969"/>
                </a:lnTo>
                <a:lnTo>
                  <a:pt x="2226" y="968"/>
                </a:lnTo>
                <a:lnTo>
                  <a:pt x="2228" y="968"/>
                </a:lnTo>
                <a:lnTo>
                  <a:pt x="2230" y="967"/>
                </a:lnTo>
                <a:lnTo>
                  <a:pt x="2237" y="964"/>
                </a:lnTo>
                <a:lnTo>
                  <a:pt x="2239" y="963"/>
                </a:lnTo>
                <a:lnTo>
                  <a:pt x="2241" y="963"/>
                </a:lnTo>
                <a:lnTo>
                  <a:pt x="2242" y="962"/>
                </a:lnTo>
                <a:lnTo>
                  <a:pt x="2245" y="962"/>
                </a:lnTo>
                <a:lnTo>
                  <a:pt x="2251" y="959"/>
                </a:lnTo>
                <a:lnTo>
                  <a:pt x="2253" y="959"/>
                </a:lnTo>
                <a:lnTo>
                  <a:pt x="2255" y="958"/>
                </a:lnTo>
                <a:lnTo>
                  <a:pt x="2259" y="958"/>
                </a:lnTo>
                <a:lnTo>
                  <a:pt x="2261" y="957"/>
                </a:lnTo>
                <a:lnTo>
                  <a:pt x="2274" y="956"/>
                </a:lnTo>
                <a:lnTo>
                  <a:pt x="2283" y="956"/>
                </a:lnTo>
                <a:lnTo>
                  <a:pt x="2286" y="955"/>
                </a:lnTo>
                <a:lnTo>
                  <a:pt x="2289" y="955"/>
                </a:lnTo>
                <a:lnTo>
                  <a:pt x="2295" y="956"/>
                </a:lnTo>
                <a:lnTo>
                  <a:pt x="2315" y="956"/>
                </a:lnTo>
                <a:lnTo>
                  <a:pt x="2340" y="959"/>
                </a:lnTo>
                <a:lnTo>
                  <a:pt x="2342" y="961"/>
                </a:lnTo>
                <a:lnTo>
                  <a:pt x="2345" y="961"/>
                </a:lnTo>
                <a:lnTo>
                  <a:pt x="2346" y="962"/>
                </a:lnTo>
                <a:lnTo>
                  <a:pt x="2349" y="962"/>
                </a:lnTo>
                <a:lnTo>
                  <a:pt x="2351" y="963"/>
                </a:lnTo>
                <a:lnTo>
                  <a:pt x="2353" y="963"/>
                </a:lnTo>
                <a:lnTo>
                  <a:pt x="2355" y="964"/>
                </a:lnTo>
                <a:lnTo>
                  <a:pt x="2357" y="964"/>
                </a:lnTo>
                <a:lnTo>
                  <a:pt x="2358" y="966"/>
                </a:lnTo>
                <a:lnTo>
                  <a:pt x="2361" y="966"/>
                </a:lnTo>
                <a:lnTo>
                  <a:pt x="2362" y="967"/>
                </a:lnTo>
                <a:lnTo>
                  <a:pt x="2367" y="968"/>
                </a:lnTo>
                <a:lnTo>
                  <a:pt x="2369" y="969"/>
                </a:lnTo>
                <a:lnTo>
                  <a:pt x="2374" y="970"/>
                </a:lnTo>
                <a:lnTo>
                  <a:pt x="2376" y="973"/>
                </a:lnTo>
                <a:lnTo>
                  <a:pt x="2379" y="974"/>
                </a:lnTo>
                <a:lnTo>
                  <a:pt x="2381" y="975"/>
                </a:lnTo>
                <a:lnTo>
                  <a:pt x="2384" y="977"/>
                </a:lnTo>
                <a:lnTo>
                  <a:pt x="2386" y="978"/>
                </a:lnTo>
                <a:lnTo>
                  <a:pt x="2388" y="979"/>
                </a:lnTo>
                <a:lnTo>
                  <a:pt x="2391" y="980"/>
                </a:lnTo>
                <a:lnTo>
                  <a:pt x="2394" y="983"/>
                </a:lnTo>
                <a:lnTo>
                  <a:pt x="2396" y="984"/>
                </a:lnTo>
                <a:lnTo>
                  <a:pt x="2399" y="985"/>
                </a:lnTo>
                <a:lnTo>
                  <a:pt x="2400" y="986"/>
                </a:lnTo>
                <a:lnTo>
                  <a:pt x="2403" y="988"/>
                </a:lnTo>
                <a:lnTo>
                  <a:pt x="2405" y="990"/>
                </a:lnTo>
                <a:lnTo>
                  <a:pt x="2407" y="990"/>
                </a:lnTo>
                <a:lnTo>
                  <a:pt x="2407" y="991"/>
                </a:lnTo>
                <a:lnTo>
                  <a:pt x="2408" y="1067"/>
                </a:lnTo>
                <a:lnTo>
                  <a:pt x="2407" y="1071"/>
                </a:lnTo>
                <a:lnTo>
                  <a:pt x="2405" y="1072"/>
                </a:lnTo>
                <a:lnTo>
                  <a:pt x="2404" y="1073"/>
                </a:lnTo>
                <a:lnTo>
                  <a:pt x="2403" y="1075"/>
                </a:lnTo>
                <a:lnTo>
                  <a:pt x="2400" y="1077"/>
                </a:lnTo>
                <a:lnTo>
                  <a:pt x="2398" y="1077"/>
                </a:lnTo>
                <a:lnTo>
                  <a:pt x="2397" y="1078"/>
                </a:lnTo>
                <a:lnTo>
                  <a:pt x="2394" y="1078"/>
                </a:lnTo>
                <a:lnTo>
                  <a:pt x="2391" y="1078"/>
                </a:lnTo>
                <a:lnTo>
                  <a:pt x="2386" y="1078"/>
                </a:lnTo>
                <a:lnTo>
                  <a:pt x="2384" y="1077"/>
                </a:lnTo>
                <a:lnTo>
                  <a:pt x="2382" y="1074"/>
                </a:lnTo>
                <a:lnTo>
                  <a:pt x="2381" y="1073"/>
                </a:lnTo>
                <a:lnTo>
                  <a:pt x="2379" y="1072"/>
                </a:lnTo>
                <a:lnTo>
                  <a:pt x="2378" y="1068"/>
                </a:lnTo>
                <a:lnTo>
                  <a:pt x="2376" y="1066"/>
                </a:lnTo>
                <a:lnTo>
                  <a:pt x="2375" y="1062"/>
                </a:lnTo>
                <a:lnTo>
                  <a:pt x="2374" y="1057"/>
                </a:lnTo>
                <a:lnTo>
                  <a:pt x="2373" y="1053"/>
                </a:lnTo>
                <a:lnTo>
                  <a:pt x="2371" y="1050"/>
                </a:lnTo>
                <a:lnTo>
                  <a:pt x="2367" y="1035"/>
                </a:lnTo>
                <a:lnTo>
                  <a:pt x="2361" y="1020"/>
                </a:lnTo>
                <a:lnTo>
                  <a:pt x="2361" y="1014"/>
                </a:lnTo>
                <a:lnTo>
                  <a:pt x="2359" y="1013"/>
                </a:lnTo>
                <a:lnTo>
                  <a:pt x="2358" y="1008"/>
                </a:lnTo>
                <a:lnTo>
                  <a:pt x="2357" y="1005"/>
                </a:lnTo>
                <a:lnTo>
                  <a:pt x="2355" y="1003"/>
                </a:lnTo>
                <a:lnTo>
                  <a:pt x="2352" y="1000"/>
                </a:lnTo>
                <a:lnTo>
                  <a:pt x="2350" y="1000"/>
                </a:lnTo>
                <a:lnTo>
                  <a:pt x="2346" y="999"/>
                </a:lnTo>
                <a:lnTo>
                  <a:pt x="2345" y="997"/>
                </a:lnTo>
                <a:lnTo>
                  <a:pt x="2341" y="995"/>
                </a:lnTo>
                <a:lnTo>
                  <a:pt x="2339" y="995"/>
                </a:lnTo>
                <a:lnTo>
                  <a:pt x="2334" y="992"/>
                </a:lnTo>
                <a:lnTo>
                  <a:pt x="2333" y="992"/>
                </a:lnTo>
                <a:lnTo>
                  <a:pt x="2332" y="991"/>
                </a:lnTo>
                <a:lnTo>
                  <a:pt x="2327" y="990"/>
                </a:lnTo>
                <a:lnTo>
                  <a:pt x="2324" y="990"/>
                </a:lnTo>
                <a:lnTo>
                  <a:pt x="2316" y="988"/>
                </a:lnTo>
                <a:lnTo>
                  <a:pt x="2303" y="986"/>
                </a:lnTo>
                <a:lnTo>
                  <a:pt x="2294" y="985"/>
                </a:lnTo>
                <a:lnTo>
                  <a:pt x="2289" y="985"/>
                </a:lnTo>
                <a:lnTo>
                  <a:pt x="2286" y="985"/>
                </a:lnTo>
                <a:lnTo>
                  <a:pt x="2283" y="985"/>
                </a:lnTo>
                <a:lnTo>
                  <a:pt x="2277" y="985"/>
                </a:lnTo>
                <a:lnTo>
                  <a:pt x="2268" y="986"/>
                </a:lnTo>
                <a:lnTo>
                  <a:pt x="2247" y="992"/>
                </a:lnTo>
                <a:lnTo>
                  <a:pt x="2243" y="995"/>
                </a:lnTo>
                <a:lnTo>
                  <a:pt x="2240" y="996"/>
                </a:lnTo>
                <a:lnTo>
                  <a:pt x="2237" y="997"/>
                </a:lnTo>
                <a:lnTo>
                  <a:pt x="2235" y="999"/>
                </a:lnTo>
                <a:lnTo>
                  <a:pt x="2232" y="1000"/>
                </a:lnTo>
                <a:lnTo>
                  <a:pt x="2230" y="1001"/>
                </a:lnTo>
                <a:lnTo>
                  <a:pt x="2226" y="1003"/>
                </a:lnTo>
                <a:lnTo>
                  <a:pt x="2225" y="1005"/>
                </a:lnTo>
                <a:lnTo>
                  <a:pt x="2223" y="1006"/>
                </a:lnTo>
                <a:lnTo>
                  <a:pt x="2220" y="1007"/>
                </a:lnTo>
                <a:lnTo>
                  <a:pt x="2219" y="1009"/>
                </a:lnTo>
                <a:lnTo>
                  <a:pt x="2218" y="1011"/>
                </a:lnTo>
                <a:lnTo>
                  <a:pt x="2216" y="1011"/>
                </a:lnTo>
                <a:lnTo>
                  <a:pt x="2213" y="1014"/>
                </a:lnTo>
                <a:lnTo>
                  <a:pt x="2206" y="1022"/>
                </a:lnTo>
                <a:lnTo>
                  <a:pt x="2201" y="1027"/>
                </a:lnTo>
                <a:lnTo>
                  <a:pt x="2197" y="1029"/>
                </a:lnTo>
                <a:lnTo>
                  <a:pt x="2195" y="1033"/>
                </a:lnTo>
                <a:lnTo>
                  <a:pt x="2194" y="1035"/>
                </a:lnTo>
                <a:lnTo>
                  <a:pt x="2191" y="1038"/>
                </a:lnTo>
                <a:lnTo>
                  <a:pt x="2190" y="1039"/>
                </a:lnTo>
                <a:lnTo>
                  <a:pt x="2190" y="1041"/>
                </a:lnTo>
                <a:lnTo>
                  <a:pt x="2188" y="1042"/>
                </a:lnTo>
                <a:lnTo>
                  <a:pt x="2187" y="1044"/>
                </a:lnTo>
                <a:lnTo>
                  <a:pt x="2187" y="1046"/>
                </a:lnTo>
                <a:lnTo>
                  <a:pt x="2185" y="1049"/>
                </a:lnTo>
                <a:lnTo>
                  <a:pt x="2184" y="1050"/>
                </a:lnTo>
                <a:lnTo>
                  <a:pt x="2183" y="1052"/>
                </a:lnTo>
                <a:lnTo>
                  <a:pt x="2182" y="1055"/>
                </a:lnTo>
                <a:lnTo>
                  <a:pt x="2181" y="1057"/>
                </a:lnTo>
                <a:lnTo>
                  <a:pt x="2179" y="1058"/>
                </a:lnTo>
                <a:lnTo>
                  <a:pt x="2177" y="1063"/>
                </a:lnTo>
                <a:lnTo>
                  <a:pt x="2176" y="1067"/>
                </a:lnTo>
                <a:lnTo>
                  <a:pt x="2174" y="1069"/>
                </a:lnTo>
                <a:lnTo>
                  <a:pt x="2173" y="1072"/>
                </a:lnTo>
                <a:lnTo>
                  <a:pt x="2172" y="1075"/>
                </a:lnTo>
                <a:lnTo>
                  <a:pt x="2171" y="1081"/>
                </a:lnTo>
                <a:lnTo>
                  <a:pt x="2170" y="1084"/>
                </a:lnTo>
                <a:lnTo>
                  <a:pt x="2170" y="1085"/>
                </a:lnTo>
                <a:lnTo>
                  <a:pt x="2168" y="1088"/>
                </a:lnTo>
                <a:lnTo>
                  <a:pt x="2168" y="1089"/>
                </a:lnTo>
                <a:lnTo>
                  <a:pt x="2167" y="1092"/>
                </a:lnTo>
                <a:lnTo>
                  <a:pt x="2166" y="1095"/>
                </a:lnTo>
                <a:lnTo>
                  <a:pt x="2165" y="1102"/>
                </a:lnTo>
                <a:lnTo>
                  <a:pt x="2164" y="1105"/>
                </a:lnTo>
                <a:lnTo>
                  <a:pt x="2162" y="1113"/>
                </a:lnTo>
                <a:lnTo>
                  <a:pt x="2161" y="1118"/>
                </a:lnTo>
                <a:lnTo>
                  <a:pt x="2160" y="1122"/>
                </a:lnTo>
                <a:lnTo>
                  <a:pt x="2160" y="1127"/>
                </a:lnTo>
                <a:lnTo>
                  <a:pt x="2160" y="1132"/>
                </a:lnTo>
                <a:lnTo>
                  <a:pt x="2159" y="1138"/>
                </a:lnTo>
                <a:lnTo>
                  <a:pt x="2159" y="1146"/>
                </a:lnTo>
                <a:lnTo>
                  <a:pt x="2158" y="1151"/>
                </a:lnTo>
                <a:lnTo>
                  <a:pt x="2158" y="1157"/>
                </a:lnTo>
                <a:lnTo>
                  <a:pt x="2158" y="1168"/>
                </a:lnTo>
                <a:lnTo>
                  <a:pt x="2158" y="1174"/>
                </a:lnTo>
                <a:lnTo>
                  <a:pt x="2159" y="1180"/>
                </a:lnTo>
                <a:lnTo>
                  <a:pt x="2159" y="1190"/>
                </a:lnTo>
                <a:lnTo>
                  <a:pt x="2159" y="1196"/>
                </a:lnTo>
                <a:lnTo>
                  <a:pt x="2160" y="1202"/>
                </a:lnTo>
                <a:lnTo>
                  <a:pt x="2160" y="1206"/>
                </a:lnTo>
                <a:lnTo>
                  <a:pt x="2161" y="1211"/>
                </a:lnTo>
                <a:lnTo>
                  <a:pt x="2161" y="1215"/>
                </a:lnTo>
                <a:lnTo>
                  <a:pt x="2162" y="1218"/>
                </a:lnTo>
                <a:lnTo>
                  <a:pt x="2162" y="1221"/>
                </a:lnTo>
                <a:lnTo>
                  <a:pt x="2164" y="1224"/>
                </a:lnTo>
                <a:lnTo>
                  <a:pt x="2165" y="1230"/>
                </a:lnTo>
                <a:lnTo>
                  <a:pt x="2165" y="1233"/>
                </a:lnTo>
                <a:lnTo>
                  <a:pt x="2166" y="1234"/>
                </a:lnTo>
                <a:lnTo>
                  <a:pt x="2166" y="1236"/>
                </a:lnTo>
                <a:lnTo>
                  <a:pt x="2167" y="1239"/>
                </a:lnTo>
                <a:lnTo>
                  <a:pt x="2167" y="1241"/>
                </a:lnTo>
                <a:lnTo>
                  <a:pt x="2168" y="1244"/>
                </a:lnTo>
                <a:lnTo>
                  <a:pt x="2168" y="1245"/>
                </a:lnTo>
                <a:lnTo>
                  <a:pt x="2170" y="1247"/>
                </a:lnTo>
                <a:lnTo>
                  <a:pt x="2170" y="1249"/>
                </a:lnTo>
                <a:lnTo>
                  <a:pt x="2171" y="1250"/>
                </a:lnTo>
                <a:lnTo>
                  <a:pt x="2171" y="1252"/>
                </a:lnTo>
                <a:lnTo>
                  <a:pt x="2172" y="1256"/>
                </a:lnTo>
                <a:lnTo>
                  <a:pt x="2173" y="1258"/>
                </a:lnTo>
                <a:lnTo>
                  <a:pt x="2174" y="1262"/>
                </a:lnTo>
                <a:lnTo>
                  <a:pt x="2176" y="1265"/>
                </a:lnTo>
                <a:lnTo>
                  <a:pt x="2177" y="1268"/>
                </a:lnTo>
                <a:lnTo>
                  <a:pt x="2178" y="1271"/>
                </a:lnTo>
                <a:lnTo>
                  <a:pt x="2179" y="1273"/>
                </a:lnTo>
                <a:lnTo>
                  <a:pt x="2181" y="1276"/>
                </a:lnTo>
                <a:lnTo>
                  <a:pt x="2182" y="1278"/>
                </a:lnTo>
                <a:lnTo>
                  <a:pt x="2184" y="1279"/>
                </a:lnTo>
                <a:lnTo>
                  <a:pt x="2184" y="1282"/>
                </a:lnTo>
                <a:lnTo>
                  <a:pt x="2187" y="1284"/>
                </a:lnTo>
                <a:lnTo>
                  <a:pt x="2187" y="1287"/>
                </a:lnTo>
                <a:lnTo>
                  <a:pt x="2188" y="1288"/>
                </a:lnTo>
                <a:lnTo>
                  <a:pt x="2189" y="1290"/>
                </a:lnTo>
                <a:lnTo>
                  <a:pt x="2191" y="1291"/>
                </a:lnTo>
                <a:lnTo>
                  <a:pt x="2193" y="1293"/>
                </a:lnTo>
                <a:lnTo>
                  <a:pt x="2195" y="1295"/>
                </a:lnTo>
                <a:lnTo>
                  <a:pt x="2199" y="1300"/>
                </a:lnTo>
                <a:lnTo>
                  <a:pt x="2203" y="1306"/>
                </a:lnTo>
                <a:lnTo>
                  <a:pt x="2208" y="1311"/>
                </a:lnTo>
                <a:lnTo>
                  <a:pt x="2212" y="1315"/>
                </a:lnTo>
                <a:lnTo>
                  <a:pt x="2214" y="1316"/>
                </a:lnTo>
                <a:lnTo>
                  <a:pt x="2217" y="1318"/>
                </a:lnTo>
                <a:lnTo>
                  <a:pt x="2218" y="1319"/>
                </a:lnTo>
                <a:lnTo>
                  <a:pt x="2220" y="1319"/>
                </a:lnTo>
                <a:lnTo>
                  <a:pt x="2222" y="1322"/>
                </a:lnTo>
                <a:lnTo>
                  <a:pt x="2224" y="1322"/>
                </a:lnTo>
                <a:lnTo>
                  <a:pt x="2226" y="1323"/>
                </a:lnTo>
                <a:lnTo>
                  <a:pt x="2228" y="1324"/>
                </a:lnTo>
                <a:lnTo>
                  <a:pt x="2230" y="1326"/>
                </a:lnTo>
                <a:lnTo>
                  <a:pt x="2232" y="1327"/>
                </a:lnTo>
                <a:lnTo>
                  <a:pt x="2235" y="1328"/>
                </a:lnTo>
                <a:lnTo>
                  <a:pt x="2240" y="1330"/>
                </a:lnTo>
                <a:lnTo>
                  <a:pt x="2241" y="1330"/>
                </a:lnTo>
                <a:lnTo>
                  <a:pt x="2246" y="1333"/>
                </a:lnTo>
                <a:lnTo>
                  <a:pt x="2253" y="1335"/>
                </a:lnTo>
                <a:lnTo>
                  <a:pt x="2254" y="1335"/>
                </a:lnTo>
                <a:lnTo>
                  <a:pt x="2257" y="1337"/>
                </a:lnTo>
                <a:lnTo>
                  <a:pt x="2259" y="1337"/>
                </a:lnTo>
                <a:lnTo>
                  <a:pt x="2261" y="1337"/>
                </a:lnTo>
                <a:lnTo>
                  <a:pt x="2265" y="1338"/>
                </a:lnTo>
                <a:lnTo>
                  <a:pt x="2269" y="1338"/>
                </a:lnTo>
                <a:lnTo>
                  <a:pt x="2278" y="1339"/>
                </a:lnTo>
                <a:lnTo>
                  <a:pt x="2282" y="1340"/>
                </a:lnTo>
                <a:lnTo>
                  <a:pt x="2288" y="1340"/>
                </a:lnTo>
                <a:lnTo>
                  <a:pt x="2293" y="1340"/>
                </a:lnTo>
                <a:lnTo>
                  <a:pt x="2297" y="1339"/>
                </a:lnTo>
                <a:lnTo>
                  <a:pt x="2309" y="1338"/>
                </a:lnTo>
                <a:lnTo>
                  <a:pt x="2315" y="1337"/>
                </a:lnTo>
                <a:lnTo>
                  <a:pt x="2318" y="1337"/>
                </a:lnTo>
                <a:lnTo>
                  <a:pt x="2320" y="1335"/>
                </a:lnTo>
                <a:lnTo>
                  <a:pt x="2322" y="1335"/>
                </a:lnTo>
                <a:lnTo>
                  <a:pt x="2323" y="1334"/>
                </a:lnTo>
                <a:lnTo>
                  <a:pt x="2327" y="1333"/>
                </a:lnTo>
                <a:lnTo>
                  <a:pt x="2332" y="1332"/>
                </a:lnTo>
                <a:lnTo>
                  <a:pt x="2334" y="1329"/>
                </a:lnTo>
                <a:lnTo>
                  <a:pt x="2339" y="1327"/>
                </a:lnTo>
                <a:lnTo>
                  <a:pt x="2341" y="1326"/>
                </a:lnTo>
                <a:lnTo>
                  <a:pt x="2342" y="1324"/>
                </a:lnTo>
                <a:lnTo>
                  <a:pt x="2345" y="1323"/>
                </a:lnTo>
                <a:lnTo>
                  <a:pt x="2347" y="1319"/>
                </a:lnTo>
                <a:lnTo>
                  <a:pt x="2350" y="1318"/>
                </a:lnTo>
                <a:lnTo>
                  <a:pt x="2351" y="1315"/>
                </a:lnTo>
                <a:lnTo>
                  <a:pt x="2352" y="1312"/>
                </a:lnTo>
                <a:lnTo>
                  <a:pt x="2352" y="1311"/>
                </a:lnTo>
                <a:lnTo>
                  <a:pt x="2355" y="1306"/>
                </a:lnTo>
                <a:lnTo>
                  <a:pt x="2356" y="1301"/>
                </a:lnTo>
                <a:lnTo>
                  <a:pt x="2363" y="1284"/>
                </a:lnTo>
                <a:lnTo>
                  <a:pt x="2369" y="1267"/>
                </a:lnTo>
                <a:lnTo>
                  <a:pt x="2370" y="1263"/>
                </a:lnTo>
                <a:lnTo>
                  <a:pt x="2371" y="1261"/>
                </a:lnTo>
                <a:lnTo>
                  <a:pt x="2371" y="1260"/>
                </a:lnTo>
                <a:lnTo>
                  <a:pt x="2373" y="1257"/>
                </a:lnTo>
                <a:lnTo>
                  <a:pt x="2374" y="1255"/>
                </a:lnTo>
                <a:lnTo>
                  <a:pt x="2375" y="1252"/>
                </a:lnTo>
                <a:lnTo>
                  <a:pt x="2376" y="1250"/>
                </a:lnTo>
                <a:lnTo>
                  <a:pt x="2382" y="1245"/>
                </a:lnTo>
                <a:lnTo>
                  <a:pt x="2386" y="1245"/>
                </a:lnTo>
                <a:lnTo>
                  <a:pt x="2387" y="1244"/>
                </a:lnTo>
                <a:lnTo>
                  <a:pt x="2388" y="1244"/>
                </a:lnTo>
                <a:lnTo>
                  <a:pt x="2391" y="1245"/>
                </a:lnTo>
                <a:lnTo>
                  <a:pt x="2394" y="1245"/>
                </a:lnTo>
                <a:lnTo>
                  <a:pt x="2398" y="1246"/>
                </a:lnTo>
                <a:lnTo>
                  <a:pt x="2399" y="1247"/>
                </a:lnTo>
                <a:lnTo>
                  <a:pt x="2403" y="1250"/>
                </a:lnTo>
                <a:lnTo>
                  <a:pt x="2404" y="1252"/>
                </a:lnTo>
                <a:lnTo>
                  <a:pt x="2405" y="1255"/>
                </a:lnTo>
                <a:lnTo>
                  <a:pt x="2407" y="1261"/>
                </a:lnTo>
                <a:lnTo>
                  <a:pt x="2407" y="1276"/>
                </a:lnTo>
                <a:lnTo>
                  <a:pt x="2407" y="1328"/>
                </a:lnTo>
                <a:lnTo>
                  <a:pt x="2403" y="1330"/>
                </a:lnTo>
                <a:lnTo>
                  <a:pt x="2400" y="1334"/>
                </a:lnTo>
                <a:lnTo>
                  <a:pt x="2398" y="1335"/>
                </a:lnTo>
                <a:lnTo>
                  <a:pt x="2396" y="1337"/>
                </a:lnTo>
                <a:lnTo>
                  <a:pt x="2393" y="1338"/>
                </a:lnTo>
                <a:lnTo>
                  <a:pt x="2391" y="1340"/>
                </a:lnTo>
                <a:lnTo>
                  <a:pt x="2390" y="1341"/>
                </a:lnTo>
                <a:lnTo>
                  <a:pt x="2388" y="1341"/>
                </a:lnTo>
                <a:lnTo>
                  <a:pt x="2386" y="1343"/>
                </a:lnTo>
                <a:lnTo>
                  <a:pt x="2384" y="1344"/>
                </a:lnTo>
                <a:lnTo>
                  <a:pt x="2382" y="1346"/>
                </a:lnTo>
                <a:lnTo>
                  <a:pt x="2379" y="1348"/>
                </a:lnTo>
                <a:lnTo>
                  <a:pt x="2376" y="1349"/>
                </a:lnTo>
                <a:lnTo>
                  <a:pt x="2375" y="1350"/>
                </a:lnTo>
                <a:lnTo>
                  <a:pt x="2373" y="1351"/>
                </a:lnTo>
                <a:lnTo>
                  <a:pt x="2368" y="1352"/>
                </a:lnTo>
                <a:lnTo>
                  <a:pt x="2365" y="1354"/>
                </a:lnTo>
                <a:lnTo>
                  <a:pt x="2362" y="1355"/>
                </a:lnTo>
                <a:lnTo>
                  <a:pt x="2361" y="1356"/>
                </a:lnTo>
                <a:lnTo>
                  <a:pt x="2356" y="1357"/>
                </a:lnTo>
                <a:lnTo>
                  <a:pt x="2351" y="1360"/>
                </a:lnTo>
                <a:lnTo>
                  <a:pt x="2350" y="1360"/>
                </a:lnTo>
                <a:lnTo>
                  <a:pt x="2347" y="1361"/>
                </a:lnTo>
                <a:lnTo>
                  <a:pt x="2346" y="1361"/>
                </a:lnTo>
                <a:lnTo>
                  <a:pt x="2345" y="1362"/>
                </a:lnTo>
                <a:lnTo>
                  <a:pt x="2342" y="1362"/>
                </a:lnTo>
                <a:lnTo>
                  <a:pt x="2338" y="1363"/>
                </a:lnTo>
                <a:lnTo>
                  <a:pt x="2336" y="1365"/>
                </a:lnTo>
                <a:lnTo>
                  <a:pt x="2334" y="1365"/>
                </a:lnTo>
                <a:lnTo>
                  <a:pt x="2329" y="1366"/>
                </a:lnTo>
                <a:lnTo>
                  <a:pt x="2306" y="1370"/>
                </a:lnTo>
                <a:lnTo>
                  <a:pt x="2299" y="1370"/>
                </a:lnTo>
                <a:lnTo>
                  <a:pt x="2294" y="1371"/>
                </a:lnTo>
                <a:lnTo>
                  <a:pt x="2287" y="1371"/>
                </a:lnTo>
                <a:lnTo>
                  <a:pt x="2281" y="1371"/>
                </a:lnTo>
                <a:lnTo>
                  <a:pt x="2276" y="1370"/>
                </a:lnTo>
                <a:lnTo>
                  <a:pt x="2263" y="1370"/>
                </a:lnTo>
                <a:lnTo>
                  <a:pt x="2259" y="1368"/>
                </a:lnTo>
                <a:lnTo>
                  <a:pt x="2254" y="1368"/>
                </a:lnTo>
                <a:lnTo>
                  <a:pt x="2252" y="1367"/>
                </a:lnTo>
                <a:lnTo>
                  <a:pt x="2248" y="1367"/>
                </a:lnTo>
                <a:lnTo>
                  <a:pt x="2246" y="1366"/>
                </a:lnTo>
                <a:lnTo>
                  <a:pt x="2243" y="1366"/>
                </a:lnTo>
                <a:lnTo>
                  <a:pt x="2236" y="1365"/>
                </a:lnTo>
                <a:lnTo>
                  <a:pt x="2230" y="1362"/>
                </a:lnTo>
                <a:lnTo>
                  <a:pt x="2229" y="1362"/>
                </a:lnTo>
                <a:lnTo>
                  <a:pt x="2226" y="1361"/>
                </a:lnTo>
                <a:lnTo>
                  <a:pt x="2223" y="1360"/>
                </a:lnTo>
                <a:lnTo>
                  <a:pt x="2218" y="1359"/>
                </a:lnTo>
                <a:lnTo>
                  <a:pt x="2216" y="1357"/>
                </a:lnTo>
                <a:lnTo>
                  <a:pt x="2213" y="1356"/>
                </a:lnTo>
                <a:lnTo>
                  <a:pt x="2210" y="1354"/>
                </a:lnTo>
                <a:lnTo>
                  <a:pt x="2207" y="1352"/>
                </a:lnTo>
                <a:lnTo>
                  <a:pt x="2205" y="1351"/>
                </a:lnTo>
                <a:lnTo>
                  <a:pt x="2202" y="1351"/>
                </a:lnTo>
                <a:lnTo>
                  <a:pt x="2200" y="1350"/>
                </a:lnTo>
                <a:lnTo>
                  <a:pt x="2197" y="1349"/>
                </a:lnTo>
                <a:lnTo>
                  <a:pt x="2196" y="1346"/>
                </a:lnTo>
                <a:lnTo>
                  <a:pt x="2194" y="1346"/>
                </a:lnTo>
                <a:lnTo>
                  <a:pt x="2190" y="1344"/>
                </a:lnTo>
                <a:lnTo>
                  <a:pt x="2189" y="1343"/>
                </a:lnTo>
                <a:lnTo>
                  <a:pt x="2187" y="1341"/>
                </a:lnTo>
                <a:lnTo>
                  <a:pt x="2185" y="1340"/>
                </a:lnTo>
                <a:lnTo>
                  <a:pt x="2184" y="1339"/>
                </a:lnTo>
                <a:lnTo>
                  <a:pt x="2183" y="1338"/>
                </a:lnTo>
                <a:lnTo>
                  <a:pt x="2181" y="1337"/>
                </a:lnTo>
                <a:lnTo>
                  <a:pt x="2178" y="1335"/>
                </a:lnTo>
                <a:lnTo>
                  <a:pt x="2177" y="1334"/>
                </a:lnTo>
                <a:lnTo>
                  <a:pt x="2174" y="1332"/>
                </a:lnTo>
                <a:lnTo>
                  <a:pt x="2172" y="1329"/>
                </a:lnTo>
                <a:lnTo>
                  <a:pt x="2168" y="1327"/>
                </a:lnTo>
                <a:lnTo>
                  <a:pt x="2166" y="1323"/>
                </a:lnTo>
                <a:lnTo>
                  <a:pt x="2164" y="1322"/>
                </a:lnTo>
                <a:lnTo>
                  <a:pt x="2161" y="1321"/>
                </a:lnTo>
                <a:close/>
                <a:moveTo>
                  <a:pt x="212" y="970"/>
                </a:moveTo>
                <a:lnTo>
                  <a:pt x="214" y="1019"/>
                </a:lnTo>
                <a:lnTo>
                  <a:pt x="214" y="1027"/>
                </a:lnTo>
                <a:lnTo>
                  <a:pt x="215" y="1029"/>
                </a:lnTo>
                <a:lnTo>
                  <a:pt x="215" y="1034"/>
                </a:lnTo>
                <a:lnTo>
                  <a:pt x="214" y="1041"/>
                </a:lnTo>
                <a:lnTo>
                  <a:pt x="214" y="1044"/>
                </a:lnTo>
                <a:lnTo>
                  <a:pt x="213" y="1045"/>
                </a:lnTo>
                <a:lnTo>
                  <a:pt x="210" y="1047"/>
                </a:lnTo>
                <a:lnTo>
                  <a:pt x="205" y="1050"/>
                </a:lnTo>
                <a:lnTo>
                  <a:pt x="202" y="1051"/>
                </a:lnTo>
                <a:lnTo>
                  <a:pt x="197" y="1051"/>
                </a:lnTo>
                <a:lnTo>
                  <a:pt x="195" y="1051"/>
                </a:lnTo>
                <a:lnTo>
                  <a:pt x="192" y="1050"/>
                </a:lnTo>
                <a:lnTo>
                  <a:pt x="191" y="1049"/>
                </a:lnTo>
                <a:lnTo>
                  <a:pt x="189" y="1047"/>
                </a:lnTo>
                <a:lnTo>
                  <a:pt x="186" y="1044"/>
                </a:lnTo>
                <a:lnTo>
                  <a:pt x="184" y="1034"/>
                </a:lnTo>
                <a:lnTo>
                  <a:pt x="183" y="1031"/>
                </a:lnTo>
                <a:lnTo>
                  <a:pt x="181" y="1028"/>
                </a:lnTo>
                <a:lnTo>
                  <a:pt x="179" y="1022"/>
                </a:lnTo>
                <a:lnTo>
                  <a:pt x="178" y="1019"/>
                </a:lnTo>
                <a:lnTo>
                  <a:pt x="178" y="1017"/>
                </a:lnTo>
                <a:lnTo>
                  <a:pt x="176" y="1016"/>
                </a:lnTo>
                <a:lnTo>
                  <a:pt x="176" y="1014"/>
                </a:lnTo>
                <a:lnTo>
                  <a:pt x="174" y="1007"/>
                </a:lnTo>
                <a:lnTo>
                  <a:pt x="173" y="1005"/>
                </a:lnTo>
                <a:lnTo>
                  <a:pt x="172" y="1002"/>
                </a:lnTo>
                <a:lnTo>
                  <a:pt x="170" y="1001"/>
                </a:lnTo>
                <a:lnTo>
                  <a:pt x="168" y="999"/>
                </a:lnTo>
                <a:lnTo>
                  <a:pt x="164" y="996"/>
                </a:lnTo>
                <a:lnTo>
                  <a:pt x="161" y="995"/>
                </a:lnTo>
                <a:lnTo>
                  <a:pt x="152" y="991"/>
                </a:lnTo>
                <a:lnTo>
                  <a:pt x="143" y="989"/>
                </a:lnTo>
                <a:lnTo>
                  <a:pt x="133" y="988"/>
                </a:lnTo>
                <a:lnTo>
                  <a:pt x="123" y="988"/>
                </a:lnTo>
                <a:lnTo>
                  <a:pt x="114" y="989"/>
                </a:lnTo>
                <a:lnTo>
                  <a:pt x="109" y="989"/>
                </a:lnTo>
                <a:lnTo>
                  <a:pt x="104" y="990"/>
                </a:lnTo>
                <a:lnTo>
                  <a:pt x="99" y="991"/>
                </a:lnTo>
                <a:lnTo>
                  <a:pt x="95" y="992"/>
                </a:lnTo>
                <a:lnTo>
                  <a:pt x="91" y="994"/>
                </a:lnTo>
                <a:lnTo>
                  <a:pt x="87" y="996"/>
                </a:lnTo>
                <a:lnTo>
                  <a:pt x="85" y="997"/>
                </a:lnTo>
                <a:lnTo>
                  <a:pt x="81" y="999"/>
                </a:lnTo>
                <a:lnTo>
                  <a:pt x="79" y="1000"/>
                </a:lnTo>
                <a:lnTo>
                  <a:pt x="77" y="1002"/>
                </a:lnTo>
                <a:lnTo>
                  <a:pt x="75" y="1003"/>
                </a:lnTo>
                <a:lnTo>
                  <a:pt x="74" y="1005"/>
                </a:lnTo>
                <a:lnTo>
                  <a:pt x="71" y="1006"/>
                </a:lnTo>
                <a:lnTo>
                  <a:pt x="69" y="1008"/>
                </a:lnTo>
                <a:lnTo>
                  <a:pt x="68" y="1011"/>
                </a:lnTo>
                <a:lnTo>
                  <a:pt x="65" y="1013"/>
                </a:lnTo>
                <a:lnTo>
                  <a:pt x="64" y="1014"/>
                </a:lnTo>
                <a:lnTo>
                  <a:pt x="63" y="1016"/>
                </a:lnTo>
                <a:lnTo>
                  <a:pt x="62" y="1018"/>
                </a:lnTo>
                <a:lnTo>
                  <a:pt x="60" y="1020"/>
                </a:lnTo>
                <a:lnTo>
                  <a:pt x="59" y="1024"/>
                </a:lnTo>
                <a:lnTo>
                  <a:pt x="58" y="1027"/>
                </a:lnTo>
                <a:lnTo>
                  <a:pt x="57" y="1028"/>
                </a:lnTo>
                <a:lnTo>
                  <a:pt x="57" y="1029"/>
                </a:lnTo>
                <a:lnTo>
                  <a:pt x="56" y="1031"/>
                </a:lnTo>
                <a:lnTo>
                  <a:pt x="56" y="1034"/>
                </a:lnTo>
                <a:lnTo>
                  <a:pt x="54" y="1036"/>
                </a:lnTo>
                <a:lnTo>
                  <a:pt x="54" y="1040"/>
                </a:lnTo>
                <a:lnTo>
                  <a:pt x="54" y="1046"/>
                </a:lnTo>
                <a:lnTo>
                  <a:pt x="53" y="1053"/>
                </a:lnTo>
                <a:lnTo>
                  <a:pt x="54" y="1058"/>
                </a:lnTo>
                <a:lnTo>
                  <a:pt x="54" y="1062"/>
                </a:lnTo>
                <a:lnTo>
                  <a:pt x="54" y="1064"/>
                </a:lnTo>
                <a:lnTo>
                  <a:pt x="56" y="1067"/>
                </a:lnTo>
                <a:lnTo>
                  <a:pt x="56" y="1069"/>
                </a:lnTo>
                <a:lnTo>
                  <a:pt x="57" y="1072"/>
                </a:lnTo>
                <a:lnTo>
                  <a:pt x="58" y="1074"/>
                </a:lnTo>
                <a:lnTo>
                  <a:pt x="59" y="1077"/>
                </a:lnTo>
                <a:lnTo>
                  <a:pt x="62" y="1081"/>
                </a:lnTo>
                <a:lnTo>
                  <a:pt x="63" y="1083"/>
                </a:lnTo>
                <a:lnTo>
                  <a:pt x="64" y="1085"/>
                </a:lnTo>
                <a:lnTo>
                  <a:pt x="66" y="1086"/>
                </a:lnTo>
                <a:lnTo>
                  <a:pt x="69" y="1089"/>
                </a:lnTo>
                <a:lnTo>
                  <a:pt x="74" y="1095"/>
                </a:lnTo>
                <a:lnTo>
                  <a:pt x="80" y="1101"/>
                </a:lnTo>
                <a:lnTo>
                  <a:pt x="82" y="1103"/>
                </a:lnTo>
                <a:lnTo>
                  <a:pt x="85" y="1106"/>
                </a:lnTo>
                <a:lnTo>
                  <a:pt x="87" y="1107"/>
                </a:lnTo>
                <a:lnTo>
                  <a:pt x="89" y="1110"/>
                </a:lnTo>
                <a:lnTo>
                  <a:pt x="92" y="1111"/>
                </a:lnTo>
                <a:lnTo>
                  <a:pt x="93" y="1112"/>
                </a:lnTo>
                <a:lnTo>
                  <a:pt x="95" y="1113"/>
                </a:lnTo>
                <a:lnTo>
                  <a:pt x="97" y="1114"/>
                </a:lnTo>
                <a:lnTo>
                  <a:pt x="98" y="1116"/>
                </a:lnTo>
                <a:lnTo>
                  <a:pt x="100" y="1117"/>
                </a:lnTo>
                <a:lnTo>
                  <a:pt x="103" y="1117"/>
                </a:lnTo>
                <a:lnTo>
                  <a:pt x="104" y="1118"/>
                </a:lnTo>
                <a:lnTo>
                  <a:pt x="106" y="1119"/>
                </a:lnTo>
                <a:lnTo>
                  <a:pt x="108" y="1121"/>
                </a:lnTo>
                <a:lnTo>
                  <a:pt x="110" y="1122"/>
                </a:lnTo>
                <a:lnTo>
                  <a:pt x="114" y="1124"/>
                </a:lnTo>
                <a:lnTo>
                  <a:pt x="118" y="1127"/>
                </a:lnTo>
                <a:lnTo>
                  <a:pt x="122" y="1129"/>
                </a:lnTo>
                <a:lnTo>
                  <a:pt x="124" y="1130"/>
                </a:lnTo>
                <a:lnTo>
                  <a:pt x="127" y="1132"/>
                </a:lnTo>
                <a:lnTo>
                  <a:pt x="128" y="1133"/>
                </a:lnTo>
                <a:lnTo>
                  <a:pt x="131" y="1133"/>
                </a:lnTo>
                <a:lnTo>
                  <a:pt x="133" y="1134"/>
                </a:lnTo>
                <a:lnTo>
                  <a:pt x="134" y="1135"/>
                </a:lnTo>
                <a:lnTo>
                  <a:pt x="137" y="1136"/>
                </a:lnTo>
                <a:lnTo>
                  <a:pt x="139" y="1138"/>
                </a:lnTo>
                <a:lnTo>
                  <a:pt x="141" y="1139"/>
                </a:lnTo>
                <a:lnTo>
                  <a:pt x="143" y="1141"/>
                </a:lnTo>
                <a:lnTo>
                  <a:pt x="145" y="1141"/>
                </a:lnTo>
                <a:lnTo>
                  <a:pt x="146" y="1144"/>
                </a:lnTo>
                <a:lnTo>
                  <a:pt x="150" y="1145"/>
                </a:lnTo>
                <a:lnTo>
                  <a:pt x="154" y="1146"/>
                </a:lnTo>
                <a:lnTo>
                  <a:pt x="156" y="1147"/>
                </a:lnTo>
                <a:lnTo>
                  <a:pt x="158" y="1150"/>
                </a:lnTo>
                <a:lnTo>
                  <a:pt x="162" y="1151"/>
                </a:lnTo>
                <a:lnTo>
                  <a:pt x="163" y="1152"/>
                </a:lnTo>
                <a:lnTo>
                  <a:pt x="167" y="1155"/>
                </a:lnTo>
                <a:lnTo>
                  <a:pt x="168" y="1156"/>
                </a:lnTo>
                <a:lnTo>
                  <a:pt x="170" y="1157"/>
                </a:lnTo>
                <a:lnTo>
                  <a:pt x="172" y="1158"/>
                </a:lnTo>
                <a:lnTo>
                  <a:pt x="173" y="1160"/>
                </a:lnTo>
                <a:lnTo>
                  <a:pt x="175" y="1161"/>
                </a:lnTo>
                <a:lnTo>
                  <a:pt x="176" y="1162"/>
                </a:lnTo>
                <a:lnTo>
                  <a:pt x="178" y="1163"/>
                </a:lnTo>
                <a:lnTo>
                  <a:pt x="180" y="1164"/>
                </a:lnTo>
                <a:lnTo>
                  <a:pt x="183" y="1167"/>
                </a:lnTo>
                <a:lnTo>
                  <a:pt x="185" y="1169"/>
                </a:lnTo>
                <a:lnTo>
                  <a:pt x="189" y="1172"/>
                </a:lnTo>
                <a:lnTo>
                  <a:pt x="193" y="1175"/>
                </a:lnTo>
                <a:lnTo>
                  <a:pt x="199" y="1182"/>
                </a:lnTo>
                <a:lnTo>
                  <a:pt x="203" y="1185"/>
                </a:lnTo>
                <a:lnTo>
                  <a:pt x="207" y="1189"/>
                </a:lnTo>
                <a:lnTo>
                  <a:pt x="209" y="1191"/>
                </a:lnTo>
                <a:lnTo>
                  <a:pt x="212" y="1194"/>
                </a:lnTo>
                <a:lnTo>
                  <a:pt x="213" y="1196"/>
                </a:lnTo>
                <a:lnTo>
                  <a:pt x="214" y="1199"/>
                </a:lnTo>
                <a:lnTo>
                  <a:pt x="214" y="1201"/>
                </a:lnTo>
                <a:lnTo>
                  <a:pt x="216" y="1204"/>
                </a:lnTo>
                <a:lnTo>
                  <a:pt x="218" y="1205"/>
                </a:lnTo>
                <a:lnTo>
                  <a:pt x="219" y="1207"/>
                </a:lnTo>
                <a:lnTo>
                  <a:pt x="220" y="1210"/>
                </a:lnTo>
                <a:lnTo>
                  <a:pt x="221" y="1213"/>
                </a:lnTo>
                <a:lnTo>
                  <a:pt x="227" y="1230"/>
                </a:lnTo>
                <a:lnTo>
                  <a:pt x="227" y="1233"/>
                </a:lnTo>
                <a:lnTo>
                  <a:pt x="228" y="1236"/>
                </a:lnTo>
                <a:lnTo>
                  <a:pt x="228" y="1240"/>
                </a:lnTo>
                <a:lnTo>
                  <a:pt x="228" y="1247"/>
                </a:lnTo>
                <a:lnTo>
                  <a:pt x="230" y="1250"/>
                </a:lnTo>
                <a:lnTo>
                  <a:pt x="230" y="1255"/>
                </a:lnTo>
                <a:lnTo>
                  <a:pt x="230" y="1258"/>
                </a:lnTo>
                <a:lnTo>
                  <a:pt x="228" y="1261"/>
                </a:lnTo>
                <a:lnTo>
                  <a:pt x="228" y="1266"/>
                </a:lnTo>
                <a:lnTo>
                  <a:pt x="228" y="1277"/>
                </a:lnTo>
                <a:lnTo>
                  <a:pt x="227" y="1279"/>
                </a:lnTo>
                <a:lnTo>
                  <a:pt x="227" y="1283"/>
                </a:lnTo>
                <a:lnTo>
                  <a:pt x="226" y="1285"/>
                </a:lnTo>
                <a:lnTo>
                  <a:pt x="226" y="1288"/>
                </a:lnTo>
                <a:lnTo>
                  <a:pt x="225" y="1290"/>
                </a:lnTo>
                <a:lnTo>
                  <a:pt x="225" y="1291"/>
                </a:lnTo>
                <a:lnTo>
                  <a:pt x="224" y="1293"/>
                </a:lnTo>
                <a:lnTo>
                  <a:pt x="224" y="1295"/>
                </a:lnTo>
                <a:lnTo>
                  <a:pt x="222" y="1299"/>
                </a:lnTo>
                <a:lnTo>
                  <a:pt x="221" y="1301"/>
                </a:lnTo>
                <a:lnTo>
                  <a:pt x="220" y="1304"/>
                </a:lnTo>
                <a:lnTo>
                  <a:pt x="219" y="1306"/>
                </a:lnTo>
                <a:lnTo>
                  <a:pt x="218" y="1308"/>
                </a:lnTo>
                <a:lnTo>
                  <a:pt x="216" y="1311"/>
                </a:lnTo>
                <a:lnTo>
                  <a:pt x="214" y="1316"/>
                </a:lnTo>
                <a:lnTo>
                  <a:pt x="213" y="1317"/>
                </a:lnTo>
                <a:lnTo>
                  <a:pt x="212" y="1319"/>
                </a:lnTo>
                <a:lnTo>
                  <a:pt x="210" y="1321"/>
                </a:lnTo>
                <a:lnTo>
                  <a:pt x="209" y="1322"/>
                </a:lnTo>
                <a:lnTo>
                  <a:pt x="208" y="1323"/>
                </a:lnTo>
                <a:lnTo>
                  <a:pt x="205" y="1326"/>
                </a:lnTo>
                <a:lnTo>
                  <a:pt x="202" y="1330"/>
                </a:lnTo>
                <a:lnTo>
                  <a:pt x="197" y="1337"/>
                </a:lnTo>
                <a:lnTo>
                  <a:pt x="196" y="1338"/>
                </a:lnTo>
                <a:lnTo>
                  <a:pt x="191" y="1341"/>
                </a:lnTo>
                <a:lnTo>
                  <a:pt x="190" y="1343"/>
                </a:lnTo>
                <a:lnTo>
                  <a:pt x="187" y="1344"/>
                </a:lnTo>
                <a:lnTo>
                  <a:pt x="186" y="1345"/>
                </a:lnTo>
                <a:lnTo>
                  <a:pt x="185" y="1346"/>
                </a:lnTo>
                <a:lnTo>
                  <a:pt x="184" y="1348"/>
                </a:lnTo>
                <a:lnTo>
                  <a:pt x="180" y="1349"/>
                </a:lnTo>
                <a:lnTo>
                  <a:pt x="179" y="1350"/>
                </a:lnTo>
                <a:lnTo>
                  <a:pt x="176" y="1351"/>
                </a:lnTo>
                <a:lnTo>
                  <a:pt x="174" y="1352"/>
                </a:lnTo>
                <a:lnTo>
                  <a:pt x="173" y="1354"/>
                </a:lnTo>
                <a:lnTo>
                  <a:pt x="169" y="1355"/>
                </a:lnTo>
                <a:lnTo>
                  <a:pt x="168" y="1356"/>
                </a:lnTo>
                <a:lnTo>
                  <a:pt x="164" y="1357"/>
                </a:lnTo>
                <a:lnTo>
                  <a:pt x="145" y="1365"/>
                </a:lnTo>
                <a:lnTo>
                  <a:pt x="121" y="1370"/>
                </a:lnTo>
                <a:lnTo>
                  <a:pt x="108" y="1370"/>
                </a:lnTo>
                <a:lnTo>
                  <a:pt x="102" y="1371"/>
                </a:lnTo>
                <a:lnTo>
                  <a:pt x="94" y="1371"/>
                </a:lnTo>
                <a:lnTo>
                  <a:pt x="86" y="1371"/>
                </a:lnTo>
                <a:lnTo>
                  <a:pt x="81" y="1370"/>
                </a:lnTo>
                <a:lnTo>
                  <a:pt x="74" y="1370"/>
                </a:lnTo>
                <a:lnTo>
                  <a:pt x="68" y="1370"/>
                </a:lnTo>
                <a:lnTo>
                  <a:pt x="53" y="1367"/>
                </a:lnTo>
                <a:lnTo>
                  <a:pt x="50" y="1366"/>
                </a:lnTo>
                <a:lnTo>
                  <a:pt x="47" y="1366"/>
                </a:lnTo>
                <a:lnTo>
                  <a:pt x="45" y="1366"/>
                </a:lnTo>
                <a:lnTo>
                  <a:pt x="42" y="1365"/>
                </a:lnTo>
                <a:lnTo>
                  <a:pt x="40" y="1365"/>
                </a:lnTo>
                <a:lnTo>
                  <a:pt x="39" y="1363"/>
                </a:lnTo>
                <a:lnTo>
                  <a:pt x="36" y="1363"/>
                </a:lnTo>
                <a:lnTo>
                  <a:pt x="34" y="1362"/>
                </a:lnTo>
                <a:lnTo>
                  <a:pt x="12" y="1354"/>
                </a:lnTo>
                <a:lnTo>
                  <a:pt x="11" y="1337"/>
                </a:lnTo>
                <a:lnTo>
                  <a:pt x="10" y="1334"/>
                </a:lnTo>
                <a:lnTo>
                  <a:pt x="7" y="1323"/>
                </a:lnTo>
                <a:lnTo>
                  <a:pt x="7" y="1316"/>
                </a:lnTo>
                <a:lnTo>
                  <a:pt x="5" y="1310"/>
                </a:lnTo>
                <a:lnTo>
                  <a:pt x="4" y="1302"/>
                </a:lnTo>
                <a:lnTo>
                  <a:pt x="4" y="1295"/>
                </a:lnTo>
                <a:lnTo>
                  <a:pt x="1" y="1288"/>
                </a:lnTo>
                <a:lnTo>
                  <a:pt x="1" y="1280"/>
                </a:lnTo>
                <a:lnTo>
                  <a:pt x="0" y="1276"/>
                </a:lnTo>
                <a:lnTo>
                  <a:pt x="0" y="1273"/>
                </a:lnTo>
                <a:lnTo>
                  <a:pt x="1" y="1271"/>
                </a:lnTo>
                <a:lnTo>
                  <a:pt x="1" y="1268"/>
                </a:lnTo>
                <a:lnTo>
                  <a:pt x="2" y="1267"/>
                </a:lnTo>
                <a:lnTo>
                  <a:pt x="6" y="1263"/>
                </a:lnTo>
                <a:lnTo>
                  <a:pt x="7" y="1262"/>
                </a:lnTo>
                <a:lnTo>
                  <a:pt x="10" y="1261"/>
                </a:lnTo>
                <a:lnTo>
                  <a:pt x="12" y="1260"/>
                </a:lnTo>
                <a:lnTo>
                  <a:pt x="16" y="1260"/>
                </a:lnTo>
                <a:lnTo>
                  <a:pt x="19" y="1260"/>
                </a:lnTo>
                <a:lnTo>
                  <a:pt x="24" y="1262"/>
                </a:lnTo>
                <a:lnTo>
                  <a:pt x="27" y="1265"/>
                </a:lnTo>
                <a:lnTo>
                  <a:pt x="28" y="1266"/>
                </a:lnTo>
                <a:lnTo>
                  <a:pt x="29" y="1268"/>
                </a:lnTo>
                <a:lnTo>
                  <a:pt x="30" y="1271"/>
                </a:lnTo>
                <a:lnTo>
                  <a:pt x="31" y="1273"/>
                </a:lnTo>
                <a:lnTo>
                  <a:pt x="33" y="1276"/>
                </a:lnTo>
                <a:lnTo>
                  <a:pt x="34" y="1278"/>
                </a:lnTo>
                <a:lnTo>
                  <a:pt x="35" y="1280"/>
                </a:lnTo>
                <a:lnTo>
                  <a:pt x="36" y="1284"/>
                </a:lnTo>
                <a:lnTo>
                  <a:pt x="37" y="1287"/>
                </a:lnTo>
                <a:lnTo>
                  <a:pt x="39" y="1288"/>
                </a:lnTo>
                <a:lnTo>
                  <a:pt x="40" y="1290"/>
                </a:lnTo>
                <a:lnTo>
                  <a:pt x="40" y="1293"/>
                </a:lnTo>
                <a:lnTo>
                  <a:pt x="41" y="1294"/>
                </a:lnTo>
                <a:lnTo>
                  <a:pt x="41" y="1296"/>
                </a:lnTo>
                <a:lnTo>
                  <a:pt x="44" y="1300"/>
                </a:lnTo>
                <a:lnTo>
                  <a:pt x="44" y="1302"/>
                </a:lnTo>
                <a:lnTo>
                  <a:pt x="46" y="1306"/>
                </a:lnTo>
                <a:lnTo>
                  <a:pt x="47" y="1307"/>
                </a:lnTo>
                <a:lnTo>
                  <a:pt x="48" y="1310"/>
                </a:lnTo>
                <a:lnTo>
                  <a:pt x="50" y="1312"/>
                </a:lnTo>
                <a:lnTo>
                  <a:pt x="51" y="1316"/>
                </a:lnTo>
                <a:lnTo>
                  <a:pt x="52" y="1317"/>
                </a:lnTo>
                <a:lnTo>
                  <a:pt x="53" y="1319"/>
                </a:lnTo>
                <a:lnTo>
                  <a:pt x="54" y="1321"/>
                </a:lnTo>
                <a:lnTo>
                  <a:pt x="56" y="1322"/>
                </a:lnTo>
                <a:lnTo>
                  <a:pt x="59" y="1326"/>
                </a:lnTo>
                <a:lnTo>
                  <a:pt x="62" y="1328"/>
                </a:lnTo>
                <a:lnTo>
                  <a:pt x="64" y="1329"/>
                </a:lnTo>
                <a:lnTo>
                  <a:pt x="65" y="1330"/>
                </a:lnTo>
                <a:lnTo>
                  <a:pt x="68" y="1330"/>
                </a:lnTo>
                <a:lnTo>
                  <a:pt x="70" y="1332"/>
                </a:lnTo>
                <a:lnTo>
                  <a:pt x="71" y="1333"/>
                </a:lnTo>
                <a:lnTo>
                  <a:pt x="79" y="1335"/>
                </a:lnTo>
                <a:lnTo>
                  <a:pt x="83" y="1337"/>
                </a:lnTo>
                <a:lnTo>
                  <a:pt x="89" y="1337"/>
                </a:lnTo>
                <a:lnTo>
                  <a:pt x="102" y="1337"/>
                </a:lnTo>
                <a:lnTo>
                  <a:pt x="110" y="1337"/>
                </a:lnTo>
                <a:lnTo>
                  <a:pt x="114" y="1337"/>
                </a:lnTo>
                <a:lnTo>
                  <a:pt x="117" y="1337"/>
                </a:lnTo>
                <a:lnTo>
                  <a:pt x="122" y="1337"/>
                </a:lnTo>
                <a:lnTo>
                  <a:pt x="128" y="1335"/>
                </a:lnTo>
                <a:lnTo>
                  <a:pt x="131" y="1334"/>
                </a:lnTo>
                <a:lnTo>
                  <a:pt x="133" y="1334"/>
                </a:lnTo>
                <a:lnTo>
                  <a:pt x="135" y="1333"/>
                </a:lnTo>
                <a:lnTo>
                  <a:pt x="137" y="1333"/>
                </a:lnTo>
                <a:lnTo>
                  <a:pt x="139" y="1332"/>
                </a:lnTo>
                <a:lnTo>
                  <a:pt x="141" y="1330"/>
                </a:lnTo>
                <a:lnTo>
                  <a:pt x="145" y="1329"/>
                </a:lnTo>
                <a:lnTo>
                  <a:pt x="149" y="1328"/>
                </a:lnTo>
                <a:lnTo>
                  <a:pt x="151" y="1327"/>
                </a:lnTo>
                <a:lnTo>
                  <a:pt x="154" y="1326"/>
                </a:lnTo>
                <a:lnTo>
                  <a:pt x="155" y="1324"/>
                </a:lnTo>
                <a:lnTo>
                  <a:pt x="156" y="1322"/>
                </a:lnTo>
                <a:lnTo>
                  <a:pt x="158" y="1321"/>
                </a:lnTo>
                <a:lnTo>
                  <a:pt x="162" y="1318"/>
                </a:lnTo>
                <a:lnTo>
                  <a:pt x="169" y="1312"/>
                </a:lnTo>
                <a:lnTo>
                  <a:pt x="173" y="1307"/>
                </a:lnTo>
                <a:lnTo>
                  <a:pt x="175" y="1304"/>
                </a:lnTo>
                <a:lnTo>
                  <a:pt x="180" y="1294"/>
                </a:lnTo>
                <a:lnTo>
                  <a:pt x="184" y="1284"/>
                </a:lnTo>
                <a:lnTo>
                  <a:pt x="184" y="1280"/>
                </a:lnTo>
                <a:lnTo>
                  <a:pt x="185" y="1278"/>
                </a:lnTo>
                <a:lnTo>
                  <a:pt x="185" y="1274"/>
                </a:lnTo>
                <a:lnTo>
                  <a:pt x="186" y="1268"/>
                </a:lnTo>
                <a:lnTo>
                  <a:pt x="186" y="1262"/>
                </a:lnTo>
                <a:lnTo>
                  <a:pt x="185" y="1256"/>
                </a:lnTo>
                <a:lnTo>
                  <a:pt x="185" y="1251"/>
                </a:lnTo>
                <a:lnTo>
                  <a:pt x="185" y="1249"/>
                </a:lnTo>
                <a:lnTo>
                  <a:pt x="181" y="1238"/>
                </a:lnTo>
                <a:lnTo>
                  <a:pt x="180" y="1235"/>
                </a:lnTo>
                <a:lnTo>
                  <a:pt x="179" y="1234"/>
                </a:lnTo>
                <a:lnTo>
                  <a:pt x="178" y="1232"/>
                </a:lnTo>
                <a:lnTo>
                  <a:pt x="176" y="1229"/>
                </a:lnTo>
                <a:lnTo>
                  <a:pt x="175" y="1228"/>
                </a:lnTo>
                <a:lnTo>
                  <a:pt x="174" y="1225"/>
                </a:lnTo>
                <a:lnTo>
                  <a:pt x="172" y="1224"/>
                </a:lnTo>
                <a:lnTo>
                  <a:pt x="170" y="1222"/>
                </a:lnTo>
                <a:lnTo>
                  <a:pt x="166" y="1217"/>
                </a:lnTo>
                <a:lnTo>
                  <a:pt x="161" y="1212"/>
                </a:lnTo>
                <a:lnTo>
                  <a:pt x="157" y="1208"/>
                </a:lnTo>
                <a:lnTo>
                  <a:pt x="155" y="1206"/>
                </a:lnTo>
                <a:lnTo>
                  <a:pt x="152" y="1205"/>
                </a:lnTo>
                <a:lnTo>
                  <a:pt x="151" y="1204"/>
                </a:lnTo>
                <a:lnTo>
                  <a:pt x="149" y="1202"/>
                </a:lnTo>
                <a:lnTo>
                  <a:pt x="146" y="1201"/>
                </a:lnTo>
                <a:lnTo>
                  <a:pt x="145" y="1200"/>
                </a:lnTo>
                <a:lnTo>
                  <a:pt x="143" y="1199"/>
                </a:lnTo>
                <a:lnTo>
                  <a:pt x="141" y="1197"/>
                </a:lnTo>
                <a:lnTo>
                  <a:pt x="139" y="1196"/>
                </a:lnTo>
                <a:lnTo>
                  <a:pt x="138" y="1195"/>
                </a:lnTo>
                <a:lnTo>
                  <a:pt x="134" y="1194"/>
                </a:lnTo>
                <a:lnTo>
                  <a:pt x="132" y="1191"/>
                </a:lnTo>
                <a:lnTo>
                  <a:pt x="127" y="1190"/>
                </a:lnTo>
                <a:lnTo>
                  <a:pt x="123" y="1188"/>
                </a:lnTo>
                <a:lnTo>
                  <a:pt x="122" y="1186"/>
                </a:lnTo>
                <a:lnTo>
                  <a:pt x="120" y="1185"/>
                </a:lnTo>
                <a:lnTo>
                  <a:pt x="117" y="1183"/>
                </a:lnTo>
                <a:lnTo>
                  <a:pt x="115" y="1183"/>
                </a:lnTo>
                <a:lnTo>
                  <a:pt x="112" y="1182"/>
                </a:lnTo>
                <a:lnTo>
                  <a:pt x="111" y="1180"/>
                </a:lnTo>
                <a:lnTo>
                  <a:pt x="109" y="1179"/>
                </a:lnTo>
                <a:lnTo>
                  <a:pt x="106" y="1178"/>
                </a:lnTo>
                <a:lnTo>
                  <a:pt x="104" y="1177"/>
                </a:lnTo>
                <a:lnTo>
                  <a:pt x="103" y="1175"/>
                </a:lnTo>
                <a:lnTo>
                  <a:pt x="100" y="1174"/>
                </a:lnTo>
                <a:lnTo>
                  <a:pt x="97" y="1173"/>
                </a:lnTo>
                <a:lnTo>
                  <a:pt x="95" y="1172"/>
                </a:lnTo>
                <a:lnTo>
                  <a:pt x="93" y="1171"/>
                </a:lnTo>
                <a:lnTo>
                  <a:pt x="91" y="1168"/>
                </a:lnTo>
                <a:lnTo>
                  <a:pt x="88" y="1168"/>
                </a:lnTo>
                <a:lnTo>
                  <a:pt x="86" y="1167"/>
                </a:lnTo>
                <a:lnTo>
                  <a:pt x="82" y="1164"/>
                </a:lnTo>
                <a:lnTo>
                  <a:pt x="80" y="1162"/>
                </a:lnTo>
                <a:lnTo>
                  <a:pt x="76" y="1161"/>
                </a:lnTo>
                <a:lnTo>
                  <a:pt x="74" y="1160"/>
                </a:lnTo>
                <a:lnTo>
                  <a:pt x="71" y="1158"/>
                </a:lnTo>
                <a:lnTo>
                  <a:pt x="69" y="1156"/>
                </a:lnTo>
                <a:lnTo>
                  <a:pt x="68" y="1155"/>
                </a:lnTo>
                <a:lnTo>
                  <a:pt x="65" y="1153"/>
                </a:lnTo>
                <a:lnTo>
                  <a:pt x="64" y="1152"/>
                </a:lnTo>
                <a:lnTo>
                  <a:pt x="62" y="1151"/>
                </a:lnTo>
                <a:lnTo>
                  <a:pt x="60" y="1150"/>
                </a:lnTo>
                <a:lnTo>
                  <a:pt x="59" y="1149"/>
                </a:lnTo>
                <a:lnTo>
                  <a:pt x="57" y="1147"/>
                </a:lnTo>
                <a:lnTo>
                  <a:pt x="54" y="1146"/>
                </a:lnTo>
                <a:lnTo>
                  <a:pt x="53" y="1144"/>
                </a:lnTo>
                <a:lnTo>
                  <a:pt x="50" y="1141"/>
                </a:lnTo>
                <a:lnTo>
                  <a:pt x="46" y="1139"/>
                </a:lnTo>
                <a:lnTo>
                  <a:pt x="40" y="1132"/>
                </a:lnTo>
                <a:lnTo>
                  <a:pt x="31" y="1124"/>
                </a:lnTo>
                <a:lnTo>
                  <a:pt x="29" y="1122"/>
                </a:lnTo>
                <a:lnTo>
                  <a:pt x="27" y="1119"/>
                </a:lnTo>
                <a:lnTo>
                  <a:pt x="25" y="1117"/>
                </a:lnTo>
                <a:lnTo>
                  <a:pt x="24" y="1116"/>
                </a:lnTo>
                <a:lnTo>
                  <a:pt x="24" y="1113"/>
                </a:lnTo>
                <a:lnTo>
                  <a:pt x="22" y="1112"/>
                </a:lnTo>
                <a:lnTo>
                  <a:pt x="22" y="1110"/>
                </a:lnTo>
                <a:lnTo>
                  <a:pt x="19" y="1106"/>
                </a:lnTo>
                <a:lnTo>
                  <a:pt x="17" y="1102"/>
                </a:lnTo>
                <a:lnTo>
                  <a:pt x="17" y="1100"/>
                </a:lnTo>
                <a:lnTo>
                  <a:pt x="16" y="1097"/>
                </a:lnTo>
                <a:lnTo>
                  <a:pt x="15" y="1094"/>
                </a:lnTo>
                <a:lnTo>
                  <a:pt x="13" y="1092"/>
                </a:lnTo>
                <a:lnTo>
                  <a:pt x="13" y="1090"/>
                </a:lnTo>
                <a:lnTo>
                  <a:pt x="11" y="1081"/>
                </a:lnTo>
                <a:lnTo>
                  <a:pt x="10" y="1073"/>
                </a:lnTo>
                <a:lnTo>
                  <a:pt x="10" y="1061"/>
                </a:lnTo>
                <a:lnTo>
                  <a:pt x="10" y="1052"/>
                </a:lnTo>
                <a:lnTo>
                  <a:pt x="10" y="1044"/>
                </a:lnTo>
                <a:lnTo>
                  <a:pt x="11" y="1036"/>
                </a:lnTo>
                <a:lnTo>
                  <a:pt x="13" y="1030"/>
                </a:lnTo>
                <a:lnTo>
                  <a:pt x="13" y="1028"/>
                </a:lnTo>
                <a:lnTo>
                  <a:pt x="13" y="1027"/>
                </a:lnTo>
                <a:lnTo>
                  <a:pt x="15" y="1024"/>
                </a:lnTo>
                <a:lnTo>
                  <a:pt x="15" y="1023"/>
                </a:lnTo>
                <a:lnTo>
                  <a:pt x="16" y="1020"/>
                </a:lnTo>
                <a:lnTo>
                  <a:pt x="16" y="1019"/>
                </a:lnTo>
                <a:lnTo>
                  <a:pt x="18" y="1014"/>
                </a:lnTo>
                <a:lnTo>
                  <a:pt x="19" y="1012"/>
                </a:lnTo>
                <a:lnTo>
                  <a:pt x="22" y="1008"/>
                </a:lnTo>
                <a:lnTo>
                  <a:pt x="23" y="1005"/>
                </a:lnTo>
                <a:lnTo>
                  <a:pt x="25" y="1002"/>
                </a:lnTo>
                <a:lnTo>
                  <a:pt x="25" y="1000"/>
                </a:lnTo>
                <a:lnTo>
                  <a:pt x="28" y="1000"/>
                </a:lnTo>
                <a:lnTo>
                  <a:pt x="29" y="997"/>
                </a:lnTo>
                <a:lnTo>
                  <a:pt x="33" y="992"/>
                </a:lnTo>
                <a:lnTo>
                  <a:pt x="37" y="988"/>
                </a:lnTo>
                <a:lnTo>
                  <a:pt x="40" y="985"/>
                </a:lnTo>
                <a:lnTo>
                  <a:pt x="44" y="981"/>
                </a:lnTo>
                <a:lnTo>
                  <a:pt x="46" y="980"/>
                </a:lnTo>
                <a:lnTo>
                  <a:pt x="48" y="978"/>
                </a:lnTo>
                <a:lnTo>
                  <a:pt x="50" y="977"/>
                </a:lnTo>
                <a:lnTo>
                  <a:pt x="52" y="977"/>
                </a:lnTo>
                <a:lnTo>
                  <a:pt x="53" y="974"/>
                </a:lnTo>
                <a:lnTo>
                  <a:pt x="56" y="974"/>
                </a:lnTo>
                <a:lnTo>
                  <a:pt x="57" y="973"/>
                </a:lnTo>
                <a:lnTo>
                  <a:pt x="59" y="972"/>
                </a:lnTo>
                <a:lnTo>
                  <a:pt x="62" y="970"/>
                </a:lnTo>
                <a:lnTo>
                  <a:pt x="64" y="969"/>
                </a:lnTo>
                <a:lnTo>
                  <a:pt x="68" y="968"/>
                </a:lnTo>
                <a:lnTo>
                  <a:pt x="69" y="967"/>
                </a:lnTo>
                <a:lnTo>
                  <a:pt x="74" y="966"/>
                </a:lnTo>
                <a:lnTo>
                  <a:pt x="81" y="963"/>
                </a:lnTo>
                <a:lnTo>
                  <a:pt x="83" y="962"/>
                </a:lnTo>
                <a:lnTo>
                  <a:pt x="85" y="962"/>
                </a:lnTo>
                <a:lnTo>
                  <a:pt x="87" y="961"/>
                </a:lnTo>
                <a:lnTo>
                  <a:pt x="89" y="961"/>
                </a:lnTo>
                <a:lnTo>
                  <a:pt x="92" y="959"/>
                </a:lnTo>
                <a:lnTo>
                  <a:pt x="94" y="959"/>
                </a:lnTo>
                <a:lnTo>
                  <a:pt x="97" y="958"/>
                </a:lnTo>
                <a:lnTo>
                  <a:pt x="99" y="958"/>
                </a:lnTo>
                <a:lnTo>
                  <a:pt x="103" y="957"/>
                </a:lnTo>
                <a:lnTo>
                  <a:pt x="108" y="957"/>
                </a:lnTo>
                <a:lnTo>
                  <a:pt x="112" y="956"/>
                </a:lnTo>
                <a:lnTo>
                  <a:pt x="118" y="956"/>
                </a:lnTo>
                <a:lnTo>
                  <a:pt x="128" y="956"/>
                </a:lnTo>
                <a:lnTo>
                  <a:pt x="134" y="955"/>
                </a:lnTo>
                <a:lnTo>
                  <a:pt x="138" y="955"/>
                </a:lnTo>
                <a:lnTo>
                  <a:pt x="141" y="955"/>
                </a:lnTo>
                <a:lnTo>
                  <a:pt x="151" y="956"/>
                </a:lnTo>
                <a:lnTo>
                  <a:pt x="173" y="958"/>
                </a:lnTo>
                <a:lnTo>
                  <a:pt x="195" y="964"/>
                </a:lnTo>
                <a:lnTo>
                  <a:pt x="212" y="970"/>
                </a:lnTo>
                <a:close/>
                <a:moveTo>
                  <a:pt x="1496" y="671"/>
                </a:moveTo>
                <a:lnTo>
                  <a:pt x="1496" y="474"/>
                </a:lnTo>
                <a:lnTo>
                  <a:pt x="1490" y="474"/>
                </a:lnTo>
                <a:lnTo>
                  <a:pt x="1485" y="475"/>
                </a:lnTo>
                <a:lnTo>
                  <a:pt x="1482" y="475"/>
                </a:lnTo>
                <a:lnTo>
                  <a:pt x="1478" y="476"/>
                </a:lnTo>
                <a:lnTo>
                  <a:pt x="1476" y="476"/>
                </a:lnTo>
                <a:lnTo>
                  <a:pt x="1473" y="477"/>
                </a:lnTo>
                <a:lnTo>
                  <a:pt x="1472" y="477"/>
                </a:lnTo>
                <a:lnTo>
                  <a:pt x="1467" y="479"/>
                </a:lnTo>
                <a:lnTo>
                  <a:pt x="1465" y="480"/>
                </a:lnTo>
                <a:lnTo>
                  <a:pt x="1459" y="483"/>
                </a:lnTo>
                <a:lnTo>
                  <a:pt x="1455" y="485"/>
                </a:lnTo>
                <a:lnTo>
                  <a:pt x="1454" y="486"/>
                </a:lnTo>
                <a:lnTo>
                  <a:pt x="1452" y="487"/>
                </a:lnTo>
                <a:lnTo>
                  <a:pt x="1450" y="488"/>
                </a:lnTo>
                <a:lnTo>
                  <a:pt x="1446" y="493"/>
                </a:lnTo>
                <a:lnTo>
                  <a:pt x="1442" y="497"/>
                </a:lnTo>
                <a:lnTo>
                  <a:pt x="1441" y="499"/>
                </a:lnTo>
                <a:lnTo>
                  <a:pt x="1440" y="501"/>
                </a:lnTo>
                <a:lnTo>
                  <a:pt x="1438" y="502"/>
                </a:lnTo>
                <a:lnTo>
                  <a:pt x="1437" y="504"/>
                </a:lnTo>
                <a:lnTo>
                  <a:pt x="1436" y="507"/>
                </a:lnTo>
                <a:lnTo>
                  <a:pt x="1435" y="510"/>
                </a:lnTo>
                <a:lnTo>
                  <a:pt x="1434" y="513"/>
                </a:lnTo>
                <a:lnTo>
                  <a:pt x="1434" y="514"/>
                </a:lnTo>
                <a:lnTo>
                  <a:pt x="1432" y="516"/>
                </a:lnTo>
                <a:lnTo>
                  <a:pt x="1432" y="518"/>
                </a:lnTo>
                <a:lnTo>
                  <a:pt x="1431" y="523"/>
                </a:lnTo>
                <a:lnTo>
                  <a:pt x="1430" y="529"/>
                </a:lnTo>
                <a:lnTo>
                  <a:pt x="1430" y="534"/>
                </a:lnTo>
                <a:lnTo>
                  <a:pt x="1429" y="538"/>
                </a:lnTo>
                <a:lnTo>
                  <a:pt x="1429" y="546"/>
                </a:lnTo>
                <a:lnTo>
                  <a:pt x="1427" y="554"/>
                </a:lnTo>
                <a:lnTo>
                  <a:pt x="1427" y="557"/>
                </a:lnTo>
                <a:lnTo>
                  <a:pt x="1427" y="562"/>
                </a:lnTo>
                <a:lnTo>
                  <a:pt x="1427" y="569"/>
                </a:lnTo>
                <a:lnTo>
                  <a:pt x="1427" y="598"/>
                </a:lnTo>
                <a:lnTo>
                  <a:pt x="1426" y="615"/>
                </a:lnTo>
                <a:lnTo>
                  <a:pt x="1426" y="634"/>
                </a:lnTo>
                <a:lnTo>
                  <a:pt x="1427" y="642"/>
                </a:lnTo>
                <a:lnTo>
                  <a:pt x="1427" y="651"/>
                </a:lnTo>
                <a:lnTo>
                  <a:pt x="1429" y="658"/>
                </a:lnTo>
                <a:lnTo>
                  <a:pt x="1431" y="664"/>
                </a:lnTo>
                <a:lnTo>
                  <a:pt x="1432" y="668"/>
                </a:lnTo>
                <a:lnTo>
                  <a:pt x="1432" y="670"/>
                </a:lnTo>
                <a:lnTo>
                  <a:pt x="1435" y="671"/>
                </a:lnTo>
                <a:lnTo>
                  <a:pt x="1436" y="674"/>
                </a:lnTo>
                <a:lnTo>
                  <a:pt x="1438" y="678"/>
                </a:lnTo>
                <a:lnTo>
                  <a:pt x="1442" y="679"/>
                </a:lnTo>
                <a:lnTo>
                  <a:pt x="1446" y="681"/>
                </a:lnTo>
                <a:lnTo>
                  <a:pt x="1450" y="682"/>
                </a:lnTo>
                <a:lnTo>
                  <a:pt x="1455" y="684"/>
                </a:lnTo>
                <a:lnTo>
                  <a:pt x="1460" y="684"/>
                </a:lnTo>
                <a:lnTo>
                  <a:pt x="1465" y="684"/>
                </a:lnTo>
                <a:lnTo>
                  <a:pt x="1470" y="684"/>
                </a:lnTo>
                <a:lnTo>
                  <a:pt x="1475" y="682"/>
                </a:lnTo>
                <a:lnTo>
                  <a:pt x="1479" y="681"/>
                </a:lnTo>
                <a:lnTo>
                  <a:pt x="1482" y="680"/>
                </a:lnTo>
                <a:lnTo>
                  <a:pt x="1488" y="678"/>
                </a:lnTo>
                <a:lnTo>
                  <a:pt x="1490" y="676"/>
                </a:lnTo>
                <a:lnTo>
                  <a:pt x="1492" y="675"/>
                </a:lnTo>
                <a:lnTo>
                  <a:pt x="1494" y="674"/>
                </a:lnTo>
                <a:lnTo>
                  <a:pt x="1495" y="671"/>
                </a:lnTo>
                <a:lnTo>
                  <a:pt x="1496" y="671"/>
                </a:lnTo>
                <a:close/>
                <a:moveTo>
                  <a:pt x="3013" y="429"/>
                </a:moveTo>
                <a:lnTo>
                  <a:pt x="3013" y="659"/>
                </a:lnTo>
                <a:lnTo>
                  <a:pt x="3036" y="659"/>
                </a:lnTo>
                <a:lnTo>
                  <a:pt x="3047" y="659"/>
                </a:lnTo>
                <a:lnTo>
                  <a:pt x="3053" y="658"/>
                </a:lnTo>
                <a:lnTo>
                  <a:pt x="3057" y="657"/>
                </a:lnTo>
                <a:lnTo>
                  <a:pt x="3059" y="657"/>
                </a:lnTo>
                <a:lnTo>
                  <a:pt x="3071" y="652"/>
                </a:lnTo>
                <a:lnTo>
                  <a:pt x="3074" y="651"/>
                </a:lnTo>
                <a:lnTo>
                  <a:pt x="3075" y="649"/>
                </a:lnTo>
                <a:lnTo>
                  <a:pt x="3077" y="647"/>
                </a:lnTo>
                <a:lnTo>
                  <a:pt x="3082" y="643"/>
                </a:lnTo>
                <a:lnTo>
                  <a:pt x="3083" y="641"/>
                </a:lnTo>
                <a:lnTo>
                  <a:pt x="3085" y="640"/>
                </a:lnTo>
                <a:lnTo>
                  <a:pt x="3086" y="638"/>
                </a:lnTo>
                <a:lnTo>
                  <a:pt x="3087" y="635"/>
                </a:lnTo>
                <a:lnTo>
                  <a:pt x="3089" y="630"/>
                </a:lnTo>
                <a:lnTo>
                  <a:pt x="3091" y="626"/>
                </a:lnTo>
                <a:lnTo>
                  <a:pt x="3092" y="625"/>
                </a:lnTo>
                <a:lnTo>
                  <a:pt x="3092" y="623"/>
                </a:lnTo>
                <a:lnTo>
                  <a:pt x="3093" y="620"/>
                </a:lnTo>
                <a:lnTo>
                  <a:pt x="3093" y="619"/>
                </a:lnTo>
                <a:lnTo>
                  <a:pt x="3094" y="615"/>
                </a:lnTo>
                <a:lnTo>
                  <a:pt x="3095" y="608"/>
                </a:lnTo>
                <a:lnTo>
                  <a:pt x="3095" y="599"/>
                </a:lnTo>
                <a:lnTo>
                  <a:pt x="3095" y="582"/>
                </a:lnTo>
                <a:lnTo>
                  <a:pt x="3095" y="509"/>
                </a:lnTo>
                <a:lnTo>
                  <a:pt x="3095" y="483"/>
                </a:lnTo>
                <a:lnTo>
                  <a:pt x="3094" y="471"/>
                </a:lnTo>
                <a:lnTo>
                  <a:pt x="3093" y="466"/>
                </a:lnTo>
                <a:lnTo>
                  <a:pt x="3091" y="462"/>
                </a:lnTo>
                <a:lnTo>
                  <a:pt x="3091" y="460"/>
                </a:lnTo>
                <a:lnTo>
                  <a:pt x="3091" y="458"/>
                </a:lnTo>
                <a:lnTo>
                  <a:pt x="3088" y="455"/>
                </a:lnTo>
                <a:lnTo>
                  <a:pt x="3087" y="453"/>
                </a:lnTo>
                <a:lnTo>
                  <a:pt x="3086" y="451"/>
                </a:lnTo>
                <a:lnTo>
                  <a:pt x="3086" y="449"/>
                </a:lnTo>
                <a:lnTo>
                  <a:pt x="3083" y="447"/>
                </a:lnTo>
                <a:lnTo>
                  <a:pt x="3079" y="443"/>
                </a:lnTo>
                <a:lnTo>
                  <a:pt x="3077" y="442"/>
                </a:lnTo>
                <a:lnTo>
                  <a:pt x="3076" y="440"/>
                </a:lnTo>
                <a:lnTo>
                  <a:pt x="3074" y="438"/>
                </a:lnTo>
                <a:lnTo>
                  <a:pt x="3073" y="438"/>
                </a:lnTo>
                <a:lnTo>
                  <a:pt x="3070" y="437"/>
                </a:lnTo>
                <a:lnTo>
                  <a:pt x="3065" y="435"/>
                </a:lnTo>
                <a:lnTo>
                  <a:pt x="3064" y="433"/>
                </a:lnTo>
                <a:lnTo>
                  <a:pt x="3060" y="432"/>
                </a:lnTo>
                <a:lnTo>
                  <a:pt x="3057" y="431"/>
                </a:lnTo>
                <a:lnTo>
                  <a:pt x="3052" y="430"/>
                </a:lnTo>
                <a:lnTo>
                  <a:pt x="3047" y="430"/>
                </a:lnTo>
                <a:lnTo>
                  <a:pt x="3036" y="429"/>
                </a:lnTo>
                <a:lnTo>
                  <a:pt x="3013" y="429"/>
                </a:lnTo>
                <a:close/>
                <a:moveTo>
                  <a:pt x="4374" y="266"/>
                </a:moveTo>
                <a:lnTo>
                  <a:pt x="4371" y="266"/>
                </a:lnTo>
                <a:lnTo>
                  <a:pt x="4368" y="267"/>
                </a:lnTo>
                <a:lnTo>
                  <a:pt x="4366" y="267"/>
                </a:lnTo>
                <a:lnTo>
                  <a:pt x="4363" y="269"/>
                </a:lnTo>
                <a:lnTo>
                  <a:pt x="4362" y="270"/>
                </a:lnTo>
                <a:lnTo>
                  <a:pt x="4360" y="271"/>
                </a:lnTo>
                <a:lnTo>
                  <a:pt x="4357" y="274"/>
                </a:lnTo>
                <a:lnTo>
                  <a:pt x="4355" y="276"/>
                </a:lnTo>
                <a:lnTo>
                  <a:pt x="4353" y="277"/>
                </a:lnTo>
                <a:lnTo>
                  <a:pt x="4351" y="280"/>
                </a:lnTo>
                <a:lnTo>
                  <a:pt x="4350" y="282"/>
                </a:lnTo>
                <a:lnTo>
                  <a:pt x="4349" y="286"/>
                </a:lnTo>
                <a:lnTo>
                  <a:pt x="4348" y="289"/>
                </a:lnTo>
                <a:lnTo>
                  <a:pt x="4348" y="292"/>
                </a:lnTo>
                <a:lnTo>
                  <a:pt x="4348" y="294"/>
                </a:lnTo>
                <a:lnTo>
                  <a:pt x="4346" y="298"/>
                </a:lnTo>
                <a:lnTo>
                  <a:pt x="4346" y="307"/>
                </a:lnTo>
                <a:lnTo>
                  <a:pt x="4345" y="310"/>
                </a:lnTo>
                <a:lnTo>
                  <a:pt x="4345" y="315"/>
                </a:lnTo>
                <a:lnTo>
                  <a:pt x="4345" y="325"/>
                </a:lnTo>
                <a:lnTo>
                  <a:pt x="4345" y="360"/>
                </a:lnTo>
                <a:lnTo>
                  <a:pt x="4345" y="488"/>
                </a:lnTo>
                <a:lnTo>
                  <a:pt x="4345" y="521"/>
                </a:lnTo>
                <a:lnTo>
                  <a:pt x="4346" y="531"/>
                </a:lnTo>
                <a:lnTo>
                  <a:pt x="4346" y="534"/>
                </a:lnTo>
                <a:lnTo>
                  <a:pt x="4348" y="537"/>
                </a:lnTo>
                <a:lnTo>
                  <a:pt x="4348" y="540"/>
                </a:lnTo>
                <a:lnTo>
                  <a:pt x="4349" y="545"/>
                </a:lnTo>
                <a:lnTo>
                  <a:pt x="4351" y="548"/>
                </a:lnTo>
                <a:lnTo>
                  <a:pt x="4353" y="549"/>
                </a:lnTo>
                <a:lnTo>
                  <a:pt x="4355" y="552"/>
                </a:lnTo>
                <a:lnTo>
                  <a:pt x="4356" y="554"/>
                </a:lnTo>
                <a:lnTo>
                  <a:pt x="4357" y="557"/>
                </a:lnTo>
                <a:lnTo>
                  <a:pt x="4360" y="558"/>
                </a:lnTo>
                <a:lnTo>
                  <a:pt x="4363" y="559"/>
                </a:lnTo>
                <a:lnTo>
                  <a:pt x="4366" y="560"/>
                </a:lnTo>
                <a:lnTo>
                  <a:pt x="4369" y="562"/>
                </a:lnTo>
                <a:lnTo>
                  <a:pt x="4378" y="563"/>
                </a:lnTo>
                <a:lnTo>
                  <a:pt x="4382" y="563"/>
                </a:lnTo>
                <a:lnTo>
                  <a:pt x="4389" y="563"/>
                </a:lnTo>
                <a:lnTo>
                  <a:pt x="4391" y="562"/>
                </a:lnTo>
                <a:lnTo>
                  <a:pt x="4394" y="562"/>
                </a:lnTo>
                <a:lnTo>
                  <a:pt x="4397" y="560"/>
                </a:lnTo>
                <a:lnTo>
                  <a:pt x="4401" y="559"/>
                </a:lnTo>
                <a:lnTo>
                  <a:pt x="4405" y="557"/>
                </a:lnTo>
                <a:lnTo>
                  <a:pt x="4406" y="556"/>
                </a:lnTo>
                <a:lnTo>
                  <a:pt x="4408" y="553"/>
                </a:lnTo>
                <a:lnTo>
                  <a:pt x="4411" y="551"/>
                </a:lnTo>
                <a:lnTo>
                  <a:pt x="4413" y="548"/>
                </a:lnTo>
                <a:lnTo>
                  <a:pt x="4413" y="499"/>
                </a:lnTo>
                <a:lnTo>
                  <a:pt x="4413" y="280"/>
                </a:lnTo>
                <a:lnTo>
                  <a:pt x="4406" y="272"/>
                </a:lnTo>
                <a:lnTo>
                  <a:pt x="4403" y="272"/>
                </a:lnTo>
                <a:lnTo>
                  <a:pt x="4397" y="269"/>
                </a:lnTo>
                <a:lnTo>
                  <a:pt x="4392" y="267"/>
                </a:lnTo>
                <a:lnTo>
                  <a:pt x="4389" y="266"/>
                </a:lnTo>
                <a:lnTo>
                  <a:pt x="4384" y="266"/>
                </a:lnTo>
                <a:lnTo>
                  <a:pt x="4374" y="266"/>
                </a:lnTo>
                <a:close/>
                <a:moveTo>
                  <a:pt x="4847" y="422"/>
                </a:moveTo>
                <a:lnTo>
                  <a:pt x="4915" y="422"/>
                </a:lnTo>
                <a:lnTo>
                  <a:pt x="4915" y="319"/>
                </a:lnTo>
                <a:lnTo>
                  <a:pt x="4915" y="302"/>
                </a:lnTo>
                <a:lnTo>
                  <a:pt x="4913" y="287"/>
                </a:lnTo>
                <a:lnTo>
                  <a:pt x="4913" y="280"/>
                </a:lnTo>
                <a:lnTo>
                  <a:pt x="4911" y="272"/>
                </a:lnTo>
                <a:lnTo>
                  <a:pt x="4909" y="267"/>
                </a:lnTo>
                <a:lnTo>
                  <a:pt x="4906" y="261"/>
                </a:lnTo>
                <a:lnTo>
                  <a:pt x="4904" y="260"/>
                </a:lnTo>
                <a:lnTo>
                  <a:pt x="4901" y="258"/>
                </a:lnTo>
                <a:lnTo>
                  <a:pt x="4898" y="255"/>
                </a:lnTo>
                <a:lnTo>
                  <a:pt x="4893" y="254"/>
                </a:lnTo>
                <a:lnTo>
                  <a:pt x="4888" y="253"/>
                </a:lnTo>
                <a:lnTo>
                  <a:pt x="4882" y="253"/>
                </a:lnTo>
                <a:lnTo>
                  <a:pt x="4873" y="253"/>
                </a:lnTo>
                <a:lnTo>
                  <a:pt x="4870" y="253"/>
                </a:lnTo>
                <a:lnTo>
                  <a:pt x="4867" y="254"/>
                </a:lnTo>
                <a:lnTo>
                  <a:pt x="4866" y="254"/>
                </a:lnTo>
                <a:lnTo>
                  <a:pt x="4863" y="257"/>
                </a:lnTo>
                <a:lnTo>
                  <a:pt x="4860" y="258"/>
                </a:lnTo>
                <a:lnTo>
                  <a:pt x="4859" y="259"/>
                </a:lnTo>
                <a:lnTo>
                  <a:pt x="4857" y="260"/>
                </a:lnTo>
                <a:lnTo>
                  <a:pt x="4855" y="263"/>
                </a:lnTo>
                <a:lnTo>
                  <a:pt x="4852" y="267"/>
                </a:lnTo>
                <a:lnTo>
                  <a:pt x="4849" y="274"/>
                </a:lnTo>
                <a:lnTo>
                  <a:pt x="4848" y="280"/>
                </a:lnTo>
                <a:lnTo>
                  <a:pt x="4847" y="286"/>
                </a:lnTo>
                <a:lnTo>
                  <a:pt x="4847" y="300"/>
                </a:lnTo>
                <a:lnTo>
                  <a:pt x="4847" y="318"/>
                </a:lnTo>
                <a:lnTo>
                  <a:pt x="4847" y="422"/>
                </a:lnTo>
                <a:close/>
                <a:moveTo>
                  <a:pt x="3521" y="422"/>
                </a:moveTo>
                <a:lnTo>
                  <a:pt x="3589" y="422"/>
                </a:lnTo>
                <a:lnTo>
                  <a:pt x="3589" y="316"/>
                </a:lnTo>
                <a:lnTo>
                  <a:pt x="3589" y="302"/>
                </a:lnTo>
                <a:lnTo>
                  <a:pt x="3589" y="287"/>
                </a:lnTo>
                <a:lnTo>
                  <a:pt x="3587" y="280"/>
                </a:lnTo>
                <a:lnTo>
                  <a:pt x="3586" y="274"/>
                </a:lnTo>
                <a:lnTo>
                  <a:pt x="3584" y="267"/>
                </a:lnTo>
                <a:lnTo>
                  <a:pt x="3581" y="263"/>
                </a:lnTo>
                <a:lnTo>
                  <a:pt x="3579" y="261"/>
                </a:lnTo>
                <a:lnTo>
                  <a:pt x="3577" y="258"/>
                </a:lnTo>
                <a:lnTo>
                  <a:pt x="3575" y="257"/>
                </a:lnTo>
                <a:lnTo>
                  <a:pt x="3572" y="255"/>
                </a:lnTo>
                <a:lnTo>
                  <a:pt x="3568" y="254"/>
                </a:lnTo>
                <a:lnTo>
                  <a:pt x="3566" y="254"/>
                </a:lnTo>
                <a:lnTo>
                  <a:pt x="3563" y="253"/>
                </a:lnTo>
                <a:lnTo>
                  <a:pt x="3554" y="253"/>
                </a:lnTo>
                <a:lnTo>
                  <a:pt x="3548" y="253"/>
                </a:lnTo>
                <a:lnTo>
                  <a:pt x="3543" y="254"/>
                </a:lnTo>
                <a:lnTo>
                  <a:pt x="3538" y="257"/>
                </a:lnTo>
                <a:lnTo>
                  <a:pt x="3534" y="258"/>
                </a:lnTo>
                <a:lnTo>
                  <a:pt x="3531" y="261"/>
                </a:lnTo>
                <a:lnTo>
                  <a:pt x="3528" y="264"/>
                </a:lnTo>
                <a:lnTo>
                  <a:pt x="3527" y="266"/>
                </a:lnTo>
                <a:lnTo>
                  <a:pt x="3526" y="269"/>
                </a:lnTo>
                <a:lnTo>
                  <a:pt x="3523" y="274"/>
                </a:lnTo>
                <a:lnTo>
                  <a:pt x="3522" y="280"/>
                </a:lnTo>
                <a:lnTo>
                  <a:pt x="3522" y="287"/>
                </a:lnTo>
                <a:lnTo>
                  <a:pt x="3521" y="302"/>
                </a:lnTo>
                <a:lnTo>
                  <a:pt x="3521" y="316"/>
                </a:lnTo>
                <a:lnTo>
                  <a:pt x="3521" y="422"/>
                </a:lnTo>
                <a:close/>
                <a:moveTo>
                  <a:pt x="2451" y="253"/>
                </a:moveTo>
                <a:lnTo>
                  <a:pt x="2448" y="253"/>
                </a:lnTo>
                <a:lnTo>
                  <a:pt x="2443" y="255"/>
                </a:lnTo>
                <a:lnTo>
                  <a:pt x="2440" y="257"/>
                </a:lnTo>
                <a:lnTo>
                  <a:pt x="2438" y="258"/>
                </a:lnTo>
                <a:lnTo>
                  <a:pt x="2436" y="260"/>
                </a:lnTo>
                <a:lnTo>
                  <a:pt x="2433" y="263"/>
                </a:lnTo>
                <a:lnTo>
                  <a:pt x="2431" y="265"/>
                </a:lnTo>
                <a:lnTo>
                  <a:pt x="2429" y="266"/>
                </a:lnTo>
                <a:lnTo>
                  <a:pt x="2429" y="269"/>
                </a:lnTo>
                <a:lnTo>
                  <a:pt x="2428" y="271"/>
                </a:lnTo>
                <a:lnTo>
                  <a:pt x="2426" y="276"/>
                </a:lnTo>
                <a:lnTo>
                  <a:pt x="2425" y="282"/>
                </a:lnTo>
                <a:lnTo>
                  <a:pt x="2423" y="289"/>
                </a:lnTo>
                <a:lnTo>
                  <a:pt x="2423" y="304"/>
                </a:lnTo>
                <a:lnTo>
                  <a:pt x="2423" y="363"/>
                </a:lnTo>
                <a:lnTo>
                  <a:pt x="2423" y="569"/>
                </a:lnTo>
                <a:lnTo>
                  <a:pt x="2423" y="623"/>
                </a:lnTo>
                <a:lnTo>
                  <a:pt x="2423" y="641"/>
                </a:lnTo>
                <a:lnTo>
                  <a:pt x="2425" y="649"/>
                </a:lnTo>
                <a:lnTo>
                  <a:pt x="2427" y="657"/>
                </a:lnTo>
                <a:lnTo>
                  <a:pt x="2429" y="662"/>
                </a:lnTo>
                <a:lnTo>
                  <a:pt x="2431" y="664"/>
                </a:lnTo>
                <a:lnTo>
                  <a:pt x="2433" y="667"/>
                </a:lnTo>
                <a:lnTo>
                  <a:pt x="2434" y="669"/>
                </a:lnTo>
                <a:lnTo>
                  <a:pt x="2437" y="671"/>
                </a:lnTo>
                <a:lnTo>
                  <a:pt x="2439" y="673"/>
                </a:lnTo>
                <a:lnTo>
                  <a:pt x="2444" y="674"/>
                </a:lnTo>
                <a:lnTo>
                  <a:pt x="2448" y="675"/>
                </a:lnTo>
                <a:lnTo>
                  <a:pt x="2457" y="676"/>
                </a:lnTo>
                <a:lnTo>
                  <a:pt x="2459" y="676"/>
                </a:lnTo>
                <a:lnTo>
                  <a:pt x="2466" y="676"/>
                </a:lnTo>
                <a:lnTo>
                  <a:pt x="2474" y="675"/>
                </a:lnTo>
                <a:lnTo>
                  <a:pt x="2477" y="674"/>
                </a:lnTo>
                <a:lnTo>
                  <a:pt x="2479" y="673"/>
                </a:lnTo>
                <a:lnTo>
                  <a:pt x="2481" y="671"/>
                </a:lnTo>
                <a:lnTo>
                  <a:pt x="2483" y="670"/>
                </a:lnTo>
                <a:lnTo>
                  <a:pt x="2485" y="669"/>
                </a:lnTo>
                <a:lnTo>
                  <a:pt x="2486" y="667"/>
                </a:lnTo>
                <a:lnTo>
                  <a:pt x="2489" y="664"/>
                </a:lnTo>
                <a:lnTo>
                  <a:pt x="2491" y="663"/>
                </a:lnTo>
                <a:lnTo>
                  <a:pt x="2491" y="584"/>
                </a:lnTo>
                <a:lnTo>
                  <a:pt x="2491" y="267"/>
                </a:lnTo>
                <a:lnTo>
                  <a:pt x="2488" y="264"/>
                </a:lnTo>
                <a:lnTo>
                  <a:pt x="2485" y="260"/>
                </a:lnTo>
                <a:lnTo>
                  <a:pt x="2483" y="259"/>
                </a:lnTo>
                <a:lnTo>
                  <a:pt x="2479" y="258"/>
                </a:lnTo>
                <a:lnTo>
                  <a:pt x="2477" y="257"/>
                </a:lnTo>
                <a:lnTo>
                  <a:pt x="2474" y="255"/>
                </a:lnTo>
                <a:lnTo>
                  <a:pt x="2472" y="254"/>
                </a:lnTo>
                <a:lnTo>
                  <a:pt x="2469" y="254"/>
                </a:lnTo>
                <a:lnTo>
                  <a:pt x="2463" y="253"/>
                </a:lnTo>
                <a:lnTo>
                  <a:pt x="2451" y="253"/>
                </a:lnTo>
                <a:close/>
                <a:moveTo>
                  <a:pt x="740" y="246"/>
                </a:moveTo>
                <a:lnTo>
                  <a:pt x="730" y="248"/>
                </a:lnTo>
                <a:lnTo>
                  <a:pt x="725" y="250"/>
                </a:lnTo>
                <a:lnTo>
                  <a:pt x="723" y="252"/>
                </a:lnTo>
                <a:lnTo>
                  <a:pt x="720" y="255"/>
                </a:lnTo>
                <a:lnTo>
                  <a:pt x="718" y="257"/>
                </a:lnTo>
                <a:lnTo>
                  <a:pt x="717" y="259"/>
                </a:lnTo>
                <a:lnTo>
                  <a:pt x="716" y="260"/>
                </a:lnTo>
                <a:lnTo>
                  <a:pt x="716" y="263"/>
                </a:lnTo>
                <a:lnTo>
                  <a:pt x="714" y="265"/>
                </a:lnTo>
                <a:lnTo>
                  <a:pt x="713" y="270"/>
                </a:lnTo>
                <a:lnTo>
                  <a:pt x="712" y="275"/>
                </a:lnTo>
                <a:lnTo>
                  <a:pt x="711" y="281"/>
                </a:lnTo>
                <a:lnTo>
                  <a:pt x="711" y="294"/>
                </a:lnTo>
                <a:lnTo>
                  <a:pt x="711" y="352"/>
                </a:lnTo>
                <a:lnTo>
                  <a:pt x="711" y="579"/>
                </a:lnTo>
                <a:lnTo>
                  <a:pt x="711" y="634"/>
                </a:lnTo>
                <a:lnTo>
                  <a:pt x="712" y="649"/>
                </a:lnTo>
                <a:lnTo>
                  <a:pt x="712" y="653"/>
                </a:lnTo>
                <a:lnTo>
                  <a:pt x="712" y="656"/>
                </a:lnTo>
                <a:lnTo>
                  <a:pt x="714" y="663"/>
                </a:lnTo>
                <a:lnTo>
                  <a:pt x="714" y="664"/>
                </a:lnTo>
                <a:lnTo>
                  <a:pt x="716" y="667"/>
                </a:lnTo>
                <a:lnTo>
                  <a:pt x="717" y="669"/>
                </a:lnTo>
                <a:lnTo>
                  <a:pt x="719" y="671"/>
                </a:lnTo>
                <a:lnTo>
                  <a:pt x="722" y="675"/>
                </a:lnTo>
                <a:lnTo>
                  <a:pt x="724" y="676"/>
                </a:lnTo>
                <a:lnTo>
                  <a:pt x="725" y="678"/>
                </a:lnTo>
                <a:lnTo>
                  <a:pt x="728" y="679"/>
                </a:lnTo>
                <a:lnTo>
                  <a:pt x="731" y="681"/>
                </a:lnTo>
                <a:lnTo>
                  <a:pt x="736" y="682"/>
                </a:lnTo>
                <a:lnTo>
                  <a:pt x="740" y="682"/>
                </a:lnTo>
                <a:lnTo>
                  <a:pt x="746" y="682"/>
                </a:lnTo>
                <a:lnTo>
                  <a:pt x="751" y="682"/>
                </a:lnTo>
                <a:lnTo>
                  <a:pt x="754" y="682"/>
                </a:lnTo>
                <a:lnTo>
                  <a:pt x="757" y="681"/>
                </a:lnTo>
                <a:lnTo>
                  <a:pt x="759" y="681"/>
                </a:lnTo>
                <a:lnTo>
                  <a:pt x="763" y="679"/>
                </a:lnTo>
                <a:lnTo>
                  <a:pt x="765" y="678"/>
                </a:lnTo>
                <a:lnTo>
                  <a:pt x="766" y="678"/>
                </a:lnTo>
                <a:lnTo>
                  <a:pt x="768" y="675"/>
                </a:lnTo>
                <a:lnTo>
                  <a:pt x="770" y="674"/>
                </a:lnTo>
                <a:lnTo>
                  <a:pt x="772" y="671"/>
                </a:lnTo>
                <a:lnTo>
                  <a:pt x="774" y="669"/>
                </a:lnTo>
                <a:lnTo>
                  <a:pt x="775" y="668"/>
                </a:lnTo>
                <a:lnTo>
                  <a:pt x="775" y="665"/>
                </a:lnTo>
                <a:lnTo>
                  <a:pt x="776" y="662"/>
                </a:lnTo>
                <a:lnTo>
                  <a:pt x="777" y="658"/>
                </a:lnTo>
                <a:lnTo>
                  <a:pt x="778" y="651"/>
                </a:lnTo>
                <a:lnTo>
                  <a:pt x="780" y="642"/>
                </a:lnTo>
                <a:lnTo>
                  <a:pt x="780" y="632"/>
                </a:lnTo>
                <a:lnTo>
                  <a:pt x="780" y="581"/>
                </a:lnTo>
                <a:lnTo>
                  <a:pt x="780" y="336"/>
                </a:lnTo>
                <a:lnTo>
                  <a:pt x="780" y="293"/>
                </a:lnTo>
                <a:lnTo>
                  <a:pt x="778" y="283"/>
                </a:lnTo>
                <a:lnTo>
                  <a:pt x="778" y="275"/>
                </a:lnTo>
                <a:lnTo>
                  <a:pt x="777" y="266"/>
                </a:lnTo>
                <a:lnTo>
                  <a:pt x="776" y="263"/>
                </a:lnTo>
                <a:lnTo>
                  <a:pt x="774" y="260"/>
                </a:lnTo>
                <a:lnTo>
                  <a:pt x="772" y="258"/>
                </a:lnTo>
                <a:lnTo>
                  <a:pt x="771" y="257"/>
                </a:lnTo>
                <a:lnTo>
                  <a:pt x="770" y="255"/>
                </a:lnTo>
                <a:lnTo>
                  <a:pt x="768" y="253"/>
                </a:lnTo>
                <a:lnTo>
                  <a:pt x="765" y="252"/>
                </a:lnTo>
                <a:lnTo>
                  <a:pt x="764" y="250"/>
                </a:lnTo>
                <a:lnTo>
                  <a:pt x="760" y="249"/>
                </a:lnTo>
                <a:lnTo>
                  <a:pt x="758" y="248"/>
                </a:lnTo>
                <a:lnTo>
                  <a:pt x="754" y="247"/>
                </a:lnTo>
                <a:lnTo>
                  <a:pt x="749" y="247"/>
                </a:lnTo>
                <a:lnTo>
                  <a:pt x="740" y="246"/>
                </a:lnTo>
                <a:close/>
                <a:moveTo>
                  <a:pt x="5090" y="532"/>
                </a:moveTo>
                <a:lnTo>
                  <a:pt x="4846" y="532"/>
                </a:lnTo>
                <a:lnTo>
                  <a:pt x="4846" y="569"/>
                </a:lnTo>
                <a:lnTo>
                  <a:pt x="4846" y="579"/>
                </a:lnTo>
                <a:lnTo>
                  <a:pt x="4846" y="584"/>
                </a:lnTo>
                <a:lnTo>
                  <a:pt x="4846" y="587"/>
                </a:lnTo>
                <a:lnTo>
                  <a:pt x="4846" y="593"/>
                </a:lnTo>
                <a:lnTo>
                  <a:pt x="4847" y="597"/>
                </a:lnTo>
                <a:lnTo>
                  <a:pt x="4847" y="601"/>
                </a:lnTo>
                <a:lnTo>
                  <a:pt x="4848" y="603"/>
                </a:lnTo>
                <a:lnTo>
                  <a:pt x="4848" y="604"/>
                </a:lnTo>
                <a:lnTo>
                  <a:pt x="4849" y="607"/>
                </a:lnTo>
                <a:lnTo>
                  <a:pt x="4849" y="609"/>
                </a:lnTo>
                <a:lnTo>
                  <a:pt x="4851" y="612"/>
                </a:lnTo>
                <a:lnTo>
                  <a:pt x="4853" y="615"/>
                </a:lnTo>
                <a:lnTo>
                  <a:pt x="4854" y="619"/>
                </a:lnTo>
                <a:lnTo>
                  <a:pt x="4855" y="620"/>
                </a:lnTo>
                <a:lnTo>
                  <a:pt x="4857" y="623"/>
                </a:lnTo>
                <a:lnTo>
                  <a:pt x="4859" y="625"/>
                </a:lnTo>
                <a:lnTo>
                  <a:pt x="4861" y="628"/>
                </a:lnTo>
                <a:lnTo>
                  <a:pt x="4865" y="631"/>
                </a:lnTo>
                <a:lnTo>
                  <a:pt x="4866" y="632"/>
                </a:lnTo>
                <a:lnTo>
                  <a:pt x="4869" y="634"/>
                </a:lnTo>
                <a:lnTo>
                  <a:pt x="4870" y="634"/>
                </a:lnTo>
                <a:lnTo>
                  <a:pt x="4875" y="636"/>
                </a:lnTo>
                <a:lnTo>
                  <a:pt x="4878" y="637"/>
                </a:lnTo>
                <a:lnTo>
                  <a:pt x="4888" y="640"/>
                </a:lnTo>
                <a:lnTo>
                  <a:pt x="4898" y="641"/>
                </a:lnTo>
                <a:lnTo>
                  <a:pt x="4909" y="642"/>
                </a:lnTo>
                <a:lnTo>
                  <a:pt x="4921" y="642"/>
                </a:lnTo>
                <a:lnTo>
                  <a:pt x="4945" y="641"/>
                </a:lnTo>
                <a:lnTo>
                  <a:pt x="4953" y="641"/>
                </a:lnTo>
                <a:lnTo>
                  <a:pt x="4959" y="640"/>
                </a:lnTo>
                <a:lnTo>
                  <a:pt x="4967" y="640"/>
                </a:lnTo>
                <a:lnTo>
                  <a:pt x="4971" y="638"/>
                </a:lnTo>
                <a:lnTo>
                  <a:pt x="4976" y="638"/>
                </a:lnTo>
                <a:lnTo>
                  <a:pt x="4982" y="637"/>
                </a:lnTo>
                <a:lnTo>
                  <a:pt x="4987" y="636"/>
                </a:lnTo>
                <a:lnTo>
                  <a:pt x="4993" y="636"/>
                </a:lnTo>
                <a:lnTo>
                  <a:pt x="4998" y="635"/>
                </a:lnTo>
                <a:lnTo>
                  <a:pt x="5005" y="634"/>
                </a:lnTo>
                <a:lnTo>
                  <a:pt x="5045" y="626"/>
                </a:lnTo>
                <a:lnTo>
                  <a:pt x="5081" y="618"/>
                </a:lnTo>
                <a:lnTo>
                  <a:pt x="5086" y="768"/>
                </a:lnTo>
                <a:lnTo>
                  <a:pt x="5081" y="769"/>
                </a:lnTo>
                <a:lnTo>
                  <a:pt x="5079" y="769"/>
                </a:lnTo>
                <a:lnTo>
                  <a:pt x="5078" y="770"/>
                </a:lnTo>
                <a:lnTo>
                  <a:pt x="5075" y="770"/>
                </a:lnTo>
                <a:lnTo>
                  <a:pt x="5074" y="772"/>
                </a:lnTo>
                <a:lnTo>
                  <a:pt x="5073" y="772"/>
                </a:lnTo>
                <a:lnTo>
                  <a:pt x="5071" y="773"/>
                </a:lnTo>
                <a:lnTo>
                  <a:pt x="5068" y="773"/>
                </a:lnTo>
                <a:lnTo>
                  <a:pt x="5067" y="774"/>
                </a:lnTo>
                <a:lnTo>
                  <a:pt x="5062" y="775"/>
                </a:lnTo>
                <a:lnTo>
                  <a:pt x="5058" y="776"/>
                </a:lnTo>
                <a:lnTo>
                  <a:pt x="5056" y="776"/>
                </a:lnTo>
                <a:lnTo>
                  <a:pt x="5050" y="779"/>
                </a:lnTo>
                <a:lnTo>
                  <a:pt x="5008" y="789"/>
                </a:lnTo>
                <a:lnTo>
                  <a:pt x="4967" y="795"/>
                </a:lnTo>
                <a:lnTo>
                  <a:pt x="4952" y="796"/>
                </a:lnTo>
                <a:lnTo>
                  <a:pt x="4946" y="796"/>
                </a:lnTo>
                <a:lnTo>
                  <a:pt x="4940" y="797"/>
                </a:lnTo>
                <a:lnTo>
                  <a:pt x="4933" y="797"/>
                </a:lnTo>
                <a:lnTo>
                  <a:pt x="4925" y="798"/>
                </a:lnTo>
                <a:lnTo>
                  <a:pt x="4915" y="798"/>
                </a:lnTo>
                <a:lnTo>
                  <a:pt x="4903" y="800"/>
                </a:lnTo>
                <a:lnTo>
                  <a:pt x="4870" y="800"/>
                </a:lnTo>
                <a:lnTo>
                  <a:pt x="4861" y="800"/>
                </a:lnTo>
                <a:lnTo>
                  <a:pt x="4858" y="800"/>
                </a:lnTo>
                <a:lnTo>
                  <a:pt x="4854" y="800"/>
                </a:lnTo>
                <a:lnTo>
                  <a:pt x="4844" y="800"/>
                </a:lnTo>
                <a:lnTo>
                  <a:pt x="4838" y="798"/>
                </a:lnTo>
                <a:lnTo>
                  <a:pt x="4832" y="798"/>
                </a:lnTo>
                <a:lnTo>
                  <a:pt x="4826" y="797"/>
                </a:lnTo>
                <a:lnTo>
                  <a:pt x="4819" y="796"/>
                </a:lnTo>
                <a:lnTo>
                  <a:pt x="4815" y="796"/>
                </a:lnTo>
                <a:lnTo>
                  <a:pt x="4788" y="790"/>
                </a:lnTo>
                <a:lnTo>
                  <a:pt x="4786" y="789"/>
                </a:lnTo>
                <a:lnTo>
                  <a:pt x="4784" y="789"/>
                </a:lnTo>
                <a:lnTo>
                  <a:pt x="4783" y="787"/>
                </a:lnTo>
                <a:lnTo>
                  <a:pt x="4782" y="787"/>
                </a:lnTo>
                <a:lnTo>
                  <a:pt x="4779" y="786"/>
                </a:lnTo>
                <a:lnTo>
                  <a:pt x="4776" y="785"/>
                </a:lnTo>
                <a:lnTo>
                  <a:pt x="4773" y="784"/>
                </a:lnTo>
                <a:lnTo>
                  <a:pt x="4770" y="782"/>
                </a:lnTo>
                <a:lnTo>
                  <a:pt x="4767" y="781"/>
                </a:lnTo>
                <a:lnTo>
                  <a:pt x="4765" y="780"/>
                </a:lnTo>
                <a:lnTo>
                  <a:pt x="4762" y="780"/>
                </a:lnTo>
                <a:lnTo>
                  <a:pt x="4759" y="778"/>
                </a:lnTo>
                <a:lnTo>
                  <a:pt x="4754" y="775"/>
                </a:lnTo>
                <a:lnTo>
                  <a:pt x="4750" y="773"/>
                </a:lnTo>
                <a:lnTo>
                  <a:pt x="4747" y="772"/>
                </a:lnTo>
                <a:lnTo>
                  <a:pt x="4744" y="769"/>
                </a:lnTo>
                <a:lnTo>
                  <a:pt x="4742" y="768"/>
                </a:lnTo>
                <a:lnTo>
                  <a:pt x="4741" y="767"/>
                </a:lnTo>
                <a:lnTo>
                  <a:pt x="4739" y="765"/>
                </a:lnTo>
                <a:lnTo>
                  <a:pt x="4738" y="764"/>
                </a:lnTo>
                <a:lnTo>
                  <a:pt x="4736" y="763"/>
                </a:lnTo>
                <a:lnTo>
                  <a:pt x="4733" y="762"/>
                </a:lnTo>
                <a:lnTo>
                  <a:pt x="4731" y="759"/>
                </a:lnTo>
                <a:lnTo>
                  <a:pt x="4727" y="756"/>
                </a:lnTo>
                <a:lnTo>
                  <a:pt x="4722" y="751"/>
                </a:lnTo>
                <a:lnTo>
                  <a:pt x="4719" y="750"/>
                </a:lnTo>
                <a:lnTo>
                  <a:pt x="4714" y="745"/>
                </a:lnTo>
                <a:lnTo>
                  <a:pt x="4709" y="739"/>
                </a:lnTo>
                <a:lnTo>
                  <a:pt x="4707" y="736"/>
                </a:lnTo>
                <a:lnTo>
                  <a:pt x="4704" y="732"/>
                </a:lnTo>
                <a:lnTo>
                  <a:pt x="4702" y="730"/>
                </a:lnTo>
                <a:lnTo>
                  <a:pt x="4701" y="728"/>
                </a:lnTo>
                <a:lnTo>
                  <a:pt x="4699" y="726"/>
                </a:lnTo>
                <a:lnTo>
                  <a:pt x="4698" y="724"/>
                </a:lnTo>
                <a:lnTo>
                  <a:pt x="4697" y="723"/>
                </a:lnTo>
                <a:lnTo>
                  <a:pt x="4696" y="721"/>
                </a:lnTo>
                <a:lnTo>
                  <a:pt x="4695" y="719"/>
                </a:lnTo>
                <a:lnTo>
                  <a:pt x="4693" y="718"/>
                </a:lnTo>
                <a:lnTo>
                  <a:pt x="4693" y="715"/>
                </a:lnTo>
                <a:lnTo>
                  <a:pt x="4691" y="712"/>
                </a:lnTo>
                <a:lnTo>
                  <a:pt x="4690" y="710"/>
                </a:lnTo>
                <a:lnTo>
                  <a:pt x="4689" y="708"/>
                </a:lnTo>
                <a:lnTo>
                  <a:pt x="4687" y="706"/>
                </a:lnTo>
                <a:lnTo>
                  <a:pt x="4686" y="703"/>
                </a:lnTo>
                <a:lnTo>
                  <a:pt x="4684" y="698"/>
                </a:lnTo>
                <a:lnTo>
                  <a:pt x="4683" y="696"/>
                </a:lnTo>
                <a:lnTo>
                  <a:pt x="4681" y="692"/>
                </a:lnTo>
                <a:lnTo>
                  <a:pt x="4680" y="690"/>
                </a:lnTo>
                <a:lnTo>
                  <a:pt x="4679" y="687"/>
                </a:lnTo>
                <a:lnTo>
                  <a:pt x="4679" y="686"/>
                </a:lnTo>
                <a:lnTo>
                  <a:pt x="4668" y="657"/>
                </a:lnTo>
                <a:lnTo>
                  <a:pt x="4667" y="649"/>
                </a:lnTo>
                <a:lnTo>
                  <a:pt x="4664" y="638"/>
                </a:lnTo>
                <a:lnTo>
                  <a:pt x="4662" y="629"/>
                </a:lnTo>
                <a:lnTo>
                  <a:pt x="4662" y="625"/>
                </a:lnTo>
                <a:lnTo>
                  <a:pt x="4661" y="621"/>
                </a:lnTo>
                <a:lnTo>
                  <a:pt x="4661" y="618"/>
                </a:lnTo>
                <a:lnTo>
                  <a:pt x="4660" y="614"/>
                </a:lnTo>
                <a:lnTo>
                  <a:pt x="4660" y="610"/>
                </a:lnTo>
                <a:lnTo>
                  <a:pt x="4658" y="606"/>
                </a:lnTo>
                <a:lnTo>
                  <a:pt x="4658" y="601"/>
                </a:lnTo>
                <a:lnTo>
                  <a:pt x="4657" y="596"/>
                </a:lnTo>
                <a:lnTo>
                  <a:pt x="4657" y="590"/>
                </a:lnTo>
                <a:lnTo>
                  <a:pt x="4656" y="584"/>
                </a:lnTo>
                <a:lnTo>
                  <a:pt x="4656" y="575"/>
                </a:lnTo>
                <a:lnTo>
                  <a:pt x="4655" y="565"/>
                </a:lnTo>
                <a:lnTo>
                  <a:pt x="4655" y="547"/>
                </a:lnTo>
                <a:lnTo>
                  <a:pt x="4654" y="542"/>
                </a:lnTo>
                <a:lnTo>
                  <a:pt x="4654" y="536"/>
                </a:lnTo>
                <a:lnTo>
                  <a:pt x="4654" y="523"/>
                </a:lnTo>
                <a:lnTo>
                  <a:pt x="4654" y="471"/>
                </a:lnTo>
                <a:lnTo>
                  <a:pt x="4654" y="418"/>
                </a:lnTo>
                <a:lnTo>
                  <a:pt x="4654" y="404"/>
                </a:lnTo>
                <a:lnTo>
                  <a:pt x="4654" y="397"/>
                </a:lnTo>
                <a:lnTo>
                  <a:pt x="4654" y="394"/>
                </a:lnTo>
                <a:lnTo>
                  <a:pt x="4655" y="392"/>
                </a:lnTo>
                <a:lnTo>
                  <a:pt x="4655" y="383"/>
                </a:lnTo>
                <a:lnTo>
                  <a:pt x="4655" y="364"/>
                </a:lnTo>
                <a:lnTo>
                  <a:pt x="4656" y="355"/>
                </a:lnTo>
                <a:lnTo>
                  <a:pt x="4656" y="349"/>
                </a:lnTo>
                <a:lnTo>
                  <a:pt x="4657" y="344"/>
                </a:lnTo>
                <a:lnTo>
                  <a:pt x="4658" y="339"/>
                </a:lnTo>
                <a:lnTo>
                  <a:pt x="4658" y="333"/>
                </a:lnTo>
                <a:lnTo>
                  <a:pt x="4660" y="329"/>
                </a:lnTo>
                <a:lnTo>
                  <a:pt x="4660" y="321"/>
                </a:lnTo>
                <a:lnTo>
                  <a:pt x="4661" y="314"/>
                </a:lnTo>
                <a:lnTo>
                  <a:pt x="4666" y="297"/>
                </a:lnTo>
                <a:lnTo>
                  <a:pt x="4666" y="293"/>
                </a:lnTo>
                <a:lnTo>
                  <a:pt x="4666" y="291"/>
                </a:lnTo>
                <a:lnTo>
                  <a:pt x="4667" y="288"/>
                </a:lnTo>
                <a:lnTo>
                  <a:pt x="4667" y="286"/>
                </a:lnTo>
                <a:lnTo>
                  <a:pt x="4667" y="283"/>
                </a:lnTo>
                <a:lnTo>
                  <a:pt x="4668" y="282"/>
                </a:lnTo>
                <a:lnTo>
                  <a:pt x="4669" y="277"/>
                </a:lnTo>
                <a:lnTo>
                  <a:pt x="4678" y="253"/>
                </a:lnTo>
                <a:lnTo>
                  <a:pt x="4679" y="250"/>
                </a:lnTo>
                <a:lnTo>
                  <a:pt x="4680" y="247"/>
                </a:lnTo>
                <a:lnTo>
                  <a:pt x="4681" y="244"/>
                </a:lnTo>
                <a:lnTo>
                  <a:pt x="4681" y="243"/>
                </a:lnTo>
                <a:lnTo>
                  <a:pt x="4683" y="241"/>
                </a:lnTo>
                <a:lnTo>
                  <a:pt x="4684" y="238"/>
                </a:lnTo>
                <a:lnTo>
                  <a:pt x="4685" y="235"/>
                </a:lnTo>
                <a:lnTo>
                  <a:pt x="4686" y="232"/>
                </a:lnTo>
                <a:lnTo>
                  <a:pt x="4687" y="230"/>
                </a:lnTo>
                <a:lnTo>
                  <a:pt x="4689" y="227"/>
                </a:lnTo>
                <a:lnTo>
                  <a:pt x="4690" y="225"/>
                </a:lnTo>
                <a:lnTo>
                  <a:pt x="4691" y="224"/>
                </a:lnTo>
                <a:lnTo>
                  <a:pt x="4693" y="221"/>
                </a:lnTo>
                <a:lnTo>
                  <a:pt x="4693" y="219"/>
                </a:lnTo>
                <a:lnTo>
                  <a:pt x="4696" y="216"/>
                </a:lnTo>
                <a:lnTo>
                  <a:pt x="4696" y="214"/>
                </a:lnTo>
                <a:lnTo>
                  <a:pt x="4698" y="211"/>
                </a:lnTo>
                <a:lnTo>
                  <a:pt x="4699" y="209"/>
                </a:lnTo>
                <a:lnTo>
                  <a:pt x="4701" y="208"/>
                </a:lnTo>
                <a:lnTo>
                  <a:pt x="4702" y="206"/>
                </a:lnTo>
                <a:lnTo>
                  <a:pt x="4703" y="205"/>
                </a:lnTo>
                <a:lnTo>
                  <a:pt x="4704" y="203"/>
                </a:lnTo>
                <a:lnTo>
                  <a:pt x="4705" y="202"/>
                </a:lnTo>
                <a:lnTo>
                  <a:pt x="4707" y="200"/>
                </a:lnTo>
                <a:lnTo>
                  <a:pt x="4709" y="197"/>
                </a:lnTo>
                <a:lnTo>
                  <a:pt x="4710" y="194"/>
                </a:lnTo>
                <a:lnTo>
                  <a:pt x="4712" y="193"/>
                </a:lnTo>
                <a:lnTo>
                  <a:pt x="4718" y="188"/>
                </a:lnTo>
                <a:lnTo>
                  <a:pt x="4720" y="185"/>
                </a:lnTo>
                <a:lnTo>
                  <a:pt x="4725" y="180"/>
                </a:lnTo>
                <a:lnTo>
                  <a:pt x="4730" y="175"/>
                </a:lnTo>
                <a:lnTo>
                  <a:pt x="4733" y="171"/>
                </a:lnTo>
                <a:lnTo>
                  <a:pt x="4737" y="169"/>
                </a:lnTo>
                <a:lnTo>
                  <a:pt x="4739" y="167"/>
                </a:lnTo>
                <a:lnTo>
                  <a:pt x="4741" y="165"/>
                </a:lnTo>
                <a:lnTo>
                  <a:pt x="4743" y="165"/>
                </a:lnTo>
                <a:lnTo>
                  <a:pt x="4744" y="164"/>
                </a:lnTo>
                <a:lnTo>
                  <a:pt x="4747" y="163"/>
                </a:lnTo>
                <a:lnTo>
                  <a:pt x="4748" y="161"/>
                </a:lnTo>
                <a:lnTo>
                  <a:pt x="4750" y="160"/>
                </a:lnTo>
                <a:lnTo>
                  <a:pt x="4751" y="159"/>
                </a:lnTo>
                <a:lnTo>
                  <a:pt x="4754" y="158"/>
                </a:lnTo>
                <a:lnTo>
                  <a:pt x="4757" y="155"/>
                </a:lnTo>
                <a:lnTo>
                  <a:pt x="4782" y="144"/>
                </a:lnTo>
                <a:lnTo>
                  <a:pt x="4786" y="143"/>
                </a:lnTo>
                <a:lnTo>
                  <a:pt x="4812" y="134"/>
                </a:lnTo>
                <a:lnTo>
                  <a:pt x="4818" y="134"/>
                </a:lnTo>
                <a:lnTo>
                  <a:pt x="4823" y="133"/>
                </a:lnTo>
                <a:lnTo>
                  <a:pt x="4828" y="132"/>
                </a:lnTo>
                <a:lnTo>
                  <a:pt x="4832" y="131"/>
                </a:lnTo>
                <a:lnTo>
                  <a:pt x="4836" y="131"/>
                </a:lnTo>
                <a:lnTo>
                  <a:pt x="4841" y="131"/>
                </a:lnTo>
                <a:lnTo>
                  <a:pt x="4847" y="130"/>
                </a:lnTo>
                <a:lnTo>
                  <a:pt x="4865" y="128"/>
                </a:lnTo>
                <a:lnTo>
                  <a:pt x="4870" y="128"/>
                </a:lnTo>
                <a:lnTo>
                  <a:pt x="4876" y="127"/>
                </a:lnTo>
                <a:lnTo>
                  <a:pt x="4888" y="128"/>
                </a:lnTo>
                <a:lnTo>
                  <a:pt x="4907" y="128"/>
                </a:lnTo>
                <a:lnTo>
                  <a:pt x="4915" y="130"/>
                </a:lnTo>
                <a:lnTo>
                  <a:pt x="4919" y="130"/>
                </a:lnTo>
                <a:lnTo>
                  <a:pt x="4924" y="131"/>
                </a:lnTo>
                <a:lnTo>
                  <a:pt x="4928" y="131"/>
                </a:lnTo>
                <a:lnTo>
                  <a:pt x="4933" y="132"/>
                </a:lnTo>
                <a:lnTo>
                  <a:pt x="4935" y="132"/>
                </a:lnTo>
                <a:lnTo>
                  <a:pt x="4939" y="133"/>
                </a:lnTo>
                <a:lnTo>
                  <a:pt x="4941" y="133"/>
                </a:lnTo>
                <a:lnTo>
                  <a:pt x="4946" y="134"/>
                </a:lnTo>
                <a:lnTo>
                  <a:pt x="4952" y="136"/>
                </a:lnTo>
                <a:lnTo>
                  <a:pt x="4956" y="137"/>
                </a:lnTo>
                <a:lnTo>
                  <a:pt x="4959" y="138"/>
                </a:lnTo>
                <a:lnTo>
                  <a:pt x="4962" y="138"/>
                </a:lnTo>
                <a:lnTo>
                  <a:pt x="4963" y="139"/>
                </a:lnTo>
                <a:lnTo>
                  <a:pt x="4965" y="139"/>
                </a:lnTo>
                <a:lnTo>
                  <a:pt x="4969" y="141"/>
                </a:lnTo>
                <a:lnTo>
                  <a:pt x="4973" y="143"/>
                </a:lnTo>
                <a:lnTo>
                  <a:pt x="4976" y="144"/>
                </a:lnTo>
                <a:lnTo>
                  <a:pt x="4979" y="145"/>
                </a:lnTo>
                <a:lnTo>
                  <a:pt x="4981" y="147"/>
                </a:lnTo>
                <a:lnTo>
                  <a:pt x="4985" y="148"/>
                </a:lnTo>
                <a:lnTo>
                  <a:pt x="4987" y="149"/>
                </a:lnTo>
                <a:lnTo>
                  <a:pt x="4990" y="150"/>
                </a:lnTo>
                <a:lnTo>
                  <a:pt x="4992" y="152"/>
                </a:lnTo>
                <a:lnTo>
                  <a:pt x="4996" y="154"/>
                </a:lnTo>
                <a:lnTo>
                  <a:pt x="4999" y="155"/>
                </a:lnTo>
                <a:lnTo>
                  <a:pt x="5000" y="156"/>
                </a:lnTo>
                <a:lnTo>
                  <a:pt x="5002" y="158"/>
                </a:lnTo>
                <a:lnTo>
                  <a:pt x="5004" y="159"/>
                </a:lnTo>
                <a:lnTo>
                  <a:pt x="5005" y="160"/>
                </a:lnTo>
                <a:lnTo>
                  <a:pt x="5006" y="163"/>
                </a:lnTo>
                <a:lnTo>
                  <a:pt x="5009" y="164"/>
                </a:lnTo>
                <a:lnTo>
                  <a:pt x="5011" y="165"/>
                </a:lnTo>
                <a:lnTo>
                  <a:pt x="5015" y="167"/>
                </a:lnTo>
                <a:lnTo>
                  <a:pt x="5019" y="171"/>
                </a:lnTo>
                <a:lnTo>
                  <a:pt x="5022" y="175"/>
                </a:lnTo>
                <a:lnTo>
                  <a:pt x="5032" y="183"/>
                </a:lnTo>
                <a:lnTo>
                  <a:pt x="5035" y="188"/>
                </a:lnTo>
                <a:lnTo>
                  <a:pt x="5038" y="191"/>
                </a:lnTo>
                <a:lnTo>
                  <a:pt x="5040" y="194"/>
                </a:lnTo>
                <a:lnTo>
                  <a:pt x="5042" y="195"/>
                </a:lnTo>
                <a:lnTo>
                  <a:pt x="5043" y="198"/>
                </a:lnTo>
                <a:lnTo>
                  <a:pt x="5044" y="200"/>
                </a:lnTo>
                <a:lnTo>
                  <a:pt x="5045" y="202"/>
                </a:lnTo>
                <a:lnTo>
                  <a:pt x="5046" y="204"/>
                </a:lnTo>
                <a:lnTo>
                  <a:pt x="5048" y="206"/>
                </a:lnTo>
                <a:lnTo>
                  <a:pt x="5049" y="208"/>
                </a:lnTo>
                <a:lnTo>
                  <a:pt x="5050" y="209"/>
                </a:lnTo>
                <a:lnTo>
                  <a:pt x="5051" y="211"/>
                </a:lnTo>
                <a:lnTo>
                  <a:pt x="5052" y="214"/>
                </a:lnTo>
                <a:lnTo>
                  <a:pt x="5054" y="215"/>
                </a:lnTo>
                <a:lnTo>
                  <a:pt x="5055" y="217"/>
                </a:lnTo>
                <a:lnTo>
                  <a:pt x="5056" y="221"/>
                </a:lnTo>
                <a:lnTo>
                  <a:pt x="5060" y="228"/>
                </a:lnTo>
                <a:lnTo>
                  <a:pt x="5062" y="233"/>
                </a:lnTo>
                <a:lnTo>
                  <a:pt x="5063" y="236"/>
                </a:lnTo>
                <a:lnTo>
                  <a:pt x="5064" y="238"/>
                </a:lnTo>
                <a:lnTo>
                  <a:pt x="5066" y="242"/>
                </a:lnTo>
                <a:lnTo>
                  <a:pt x="5067" y="244"/>
                </a:lnTo>
                <a:lnTo>
                  <a:pt x="5068" y="248"/>
                </a:lnTo>
                <a:lnTo>
                  <a:pt x="5068" y="249"/>
                </a:lnTo>
                <a:lnTo>
                  <a:pt x="5069" y="252"/>
                </a:lnTo>
                <a:lnTo>
                  <a:pt x="5069" y="253"/>
                </a:lnTo>
                <a:lnTo>
                  <a:pt x="5072" y="258"/>
                </a:lnTo>
                <a:lnTo>
                  <a:pt x="5072" y="260"/>
                </a:lnTo>
                <a:lnTo>
                  <a:pt x="5073" y="261"/>
                </a:lnTo>
                <a:lnTo>
                  <a:pt x="5073" y="264"/>
                </a:lnTo>
                <a:lnTo>
                  <a:pt x="5073" y="265"/>
                </a:lnTo>
                <a:lnTo>
                  <a:pt x="5074" y="269"/>
                </a:lnTo>
                <a:lnTo>
                  <a:pt x="5075" y="274"/>
                </a:lnTo>
                <a:lnTo>
                  <a:pt x="5077" y="276"/>
                </a:lnTo>
                <a:lnTo>
                  <a:pt x="5077" y="278"/>
                </a:lnTo>
                <a:lnTo>
                  <a:pt x="5078" y="281"/>
                </a:lnTo>
                <a:lnTo>
                  <a:pt x="5078" y="282"/>
                </a:lnTo>
                <a:lnTo>
                  <a:pt x="5079" y="288"/>
                </a:lnTo>
                <a:lnTo>
                  <a:pt x="5081" y="297"/>
                </a:lnTo>
                <a:lnTo>
                  <a:pt x="5083" y="303"/>
                </a:lnTo>
                <a:lnTo>
                  <a:pt x="5083" y="307"/>
                </a:lnTo>
                <a:lnTo>
                  <a:pt x="5085" y="316"/>
                </a:lnTo>
                <a:lnTo>
                  <a:pt x="5087" y="336"/>
                </a:lnTo>
                <a:lnTo>
                  <a:pt x="5087" y="341"/>
                </a:lnTo>
                <a:lnTo>
                  <a:pt x="5087" y="347"/>
                </a:lnTo>
                <a:lnTo>
                  <a:pt x="5089" y="355"/>
                </a:lnTo>
                <a:lnTo>
                  <a:pt x="5090" y="370"/>
                </a:lnTo>
                <a:lnTo>
                  <a:pt x="5090" y="376"/>
                </a:lnTo>
                <a:lnTo>
                  <a:pt x="5090" y="407"/>
                </a:lnTo>
                <a:lnTo>
                  <a:pt x="5090" y="532"/>
                </a:lnTo>
                <a:close/>
                <a:moveTo>
                  <a:pt x="4430" y="142"/>
                </a:moveTo>
                <a:lnTo>
                  <a:pt x="4606" y="142"/>
                </a:lnTo>
                <a:lnTo>
                  <a:pt x="4606" y="587"/>
                </a:lnTo>
                <a:lnTo>
                  <a:pt x="4606" y="664"/>
                </a:lnTo>
                <a:lnTo>
                  <a:pt x="4606" y="687"/>
                </a:lnTo>
                <a:lnTo>
                  <a:pt x="4606" y="693"/>
                </a:lnTo>
                <a:lnTo>
                  <a:pt x="4606" y="700"/>
                </a:lnTo>
                <a:lnTo>
                  <a:pt x="4606" y="712"/>
                </a:lnTo>
                <a:lnTo>
                  <a:pt x="4605" y="720"/>
                </a:lnTo>
                <a:lnTo>
                  <a:pt x="4605" y="726"/>
                </a:lnTo>
                <a:lnTo>
                  <a:pt x="4604" y="731"/>
                </a:lnTo>
                <a:lnTo>
                  <a:pt x="4603" y="740"/>
                </a:lnTo>
                <a:lnTo>
                  <a:pt x="4602" y="747"/>
                </a:lnTo>
                <a:lnTo>
                  <a:pt x="4602" y="751"/>
                </a:lnTo>
                <a:lnTo>
                  <a:pt x="4597" y="767"/>
                </a:lnTo>
                <a:lnTo>
                  <a:pt x="4597" y="772"/>
                </a:lnTo>
                <a:lnTo>
                  <a:pt x="4595" y="775"/>
                </a:lnTo>
                <a:lnTo>
                  <a:pt x="4594" y="778"/>
                </a:lnTo>
                <a:lnTo>
                  <a:pt x="4594" y="779"/>
                </a:lnTo>
                <a:lnTo>
                  <a:pt x="4594" y="780"/>
                </a:lnTo>
                <a:lnTo>
                  <a:pt x="4593" y="782"/>
                </a:lnTo>
                <a:lnTo>
                  <a:pt x="4593" y="784"/>
                </a:lnTo>
                <a:lnTo>
                  <a:pt x="4591" y="790"/>
                </a:lnTo>
                <a:lnTo>
                  <a:pt x="4589" y="795"/>
                </a:lnTo>
                <a:lnTo>
                  <a:pt x="4588" y="796"/>
                </a:lnTo>
                <a:lnTo>
                  <a:pt x="4587" y="798"/>
                </a:lnTo>
                <a:lnTo>
                  <a:pt x="4586" y="801"/>
                </a:lnTo>
                <a:lnTo>
                  <a:pt x="4586" y="802"/>
                </a:lnTo>
                <a:lnTo>
                  <a:pt x="4583" y="806"/>
                </a:lnTo>
                <a:lnTo>
                  <a:pt x="4582" y="808"/>
                </a:lnTo>
                <a:lnTo>
                  <a:pt x="4581" y="811"/>
                </a:lnTo>
                <a:lnTo>
                  <a:pt x="4580" y="813"/>
                </a:lnTo>
                <a:lnTo>
                  <a:pt x="4580" y="815"/>
                </a:lnTo>
                <a:lnTo>
                  <a:pt x="4577" y="819"/>
                </a:lnTo>
                <a:lnTo>
                  <a:pt x="4576" y="822"/>
                </a:lnTo>
                <a:lnTo>
                  <a:pt x="4574" y="824"/>
                </a:lnTo>
                <a:lnTo>
                  <a:pt x="4573" y="825"/>
                </a:lnTo>
                <a:lnTo>
                  <a:pt x="4571" y="828"/>
                </a:lnTo>
                <a:lnTo>
                  <a:pt x="4570" y="829"/>
                </a:lnTo>
                <a:lnTo>
                  <a:pt x="4569" y="831"/>
                </a:lnTo>
                <a:lnTo>
                  <a:pt x="4568" y="833"/>
                </a:lnTo>
                <a:lnTo>
                  <a:pt x="4566" y="834"/>
                </a:lnTo>
                <a:lnTo>
                  <a:pt x="4565" y="836"/>
                </a:lnTo>
                <a:lnTo>
                  <a:pt x="4564" y="839"/>
                </a:lnTo>
                <a:lnTo>
                  <a:pt x="4563" y="840"/>
                </a:lnTo>
                <a:lnTo>
                  <a:pt x="4559" y="844"/>
                </a:lnTo>
                <a:lnTo>
                  <a:pt x="4552" y="851"/>
                </a:lnTo>
                <a:lnTo>
                  <a:pt x="4545" y="859"/>
                </a:lnTo>
                <a:lnTo>
                  <a:pt x="4541" y="862"/>
                </a:lnTo>
                <a:lnTo>
                  <a:pt x="4537" y="864"/>
                </a:lnTo>
                <a:lnTo>
                  <a:pt x="4535" y="867"/>
                </a:lnTo>
                <a:lnTo>
                  <a:pt x="4533" y="868"/>
                </a:lnTo>
                <a:lnTo>
                  <a:pt x="4531" y="869"/>
                </a:lnTo>
                <a:lnTo>
                  <a:pt x="4529" y="870"/>
                </a:lnTo>
                <a:lnTo>
                  <a:pt x="4527" y="873"/>
                </a:lnTo>
                <a:lnTo>
                  <a:pt x="4524" y="873"/>
                </a:lnTo>
                <a:lnTo>
                  <a:pt x="4522" y="875"/>
                </a:lnTo>
                <a:lnTo>
                  <a:pt x="4521" y="876"/>
                </a:lnTo>
                <a:lnTo>
                  <a:pt x="4517" y="878"/>
                </a:lnTo>
                <a:lnTo>
                  <a:pt x="4516" y="879"/>
                </a:lnTo>
                <a:lnTo>
                  <a:pt x="4513" y="880"/>
                </a:lnTo>
                <a:lnTo>
                  <a:pt x="4511" y="883"/>
                </a:lnTo>
                <a:lnTo>
                  <a:pt x="4508" y="883"/>
                </a:lnTo>
                <a:lnTo>
                  <a:pt x="4505" y="885"/>
                </a:lnTo>
                <a:lnTo>
                  <a:pt x="4502" y="885"/>
                </a:lnTo>
                <a:lnTo>
                  <a:pt x="4499" y="887"/>
                </a:lnTo>
                <a:lnTo>
                  <a:pt x="4498" y="887"/>
                </a:lnTo>
                <a:lnTo>
                  <a:pt x="4495" y="889"/>
                </a:lnTo>
                <a:lnTo>
                  <a:pt x="4493" y="890"/>
                </a:lnTo>
                <a:lnTo>
                  <a:pt x="4490" y="891"/>
                </a:lnTo>
                <a:lnTo>
                  <a:pt x="4485" y="892"/>
                </a:lnTo>
                <a:lnTo>
                  <a:pt x="4481" y="895"/>
                </a:lnTo>
                <a:lnTo>
                  <a:pt x="4479" y="895"/>
                </a:lnTo>
                <a:lnTo>
                  <a:pt x="4478" y="896"/>
                </a:lnTo>
                <a:lnTo>
                  <a:pt x="4476" y="896"/>
                </a:lnTo>
                <a:lnTo>
                  <a:pt x="4473" y="897"/>
                </a:lnTo>
                <a:lnTo>
                  <a:pt x="4472" y="897"/>
                </a:lnTo>
                <a:lnTo>
                  <a:pt x="4470" y="897"/>
                </a:lnTo>
                <a:lnTo>
                  <a:pt x="4465" y="898"/>
                </a:lnTo>
                <a:lnTo>
                  <a:pt x="4464" y="900"/>
                </a:lnTo>
                <a:lnTo>
                  <a:pt x="4461" y="900"/>
                </a:lnTo>
                <a:lnTo>
                  <a:pt x="4456" y="901"/>
                </a:lnTo>
                <a:lnTo>
                  <a:pt x="4454" y="902"/>
                </a:lnTo>
                <a:lnTo>
                  <a:pt x="4450" y="902"/>
                </a:lnTo>
                <a:lnTo>
                  <a:pt x="4448" y="903"/>
                </a:lnTo>
                <a:lnTo>
                  <a:pt x="4446" y="903"/>
                </a:lnTo>
                <a:lnTo>
                  <a:pt x="4442" y="905"/>
                </a:lnTo>
                <a:lnTo>
                  <a:pt x="4435" y="906"/>
                </a:lnTo>
                <a:lnTo>
                  <a:pt x="4431" y="906"/>
                </a:lnTo>
                <a:lnTo>
                  <a:pt x="4426" y="907"/>
                </a:lnTo>
                <a:lnTo>
                  <a:pt x="4421" y="907"/>
                </a:lnTo>
                <a:lnTo>
                  <a:pt x="4418" y="908"/>
                </a:lnTo>
                <a:lnTo>
                  <a:pt x="4412" y="908"/>
                </a:lnTo>
                <a:lnTo>
                  <a:pt x="4405" y="909"/>
                </a:lnTo>
                <a:lnTo>
                  <a:pt x="4395" y="909"/>
                </a:lnTo>
                <a:lnTo>
                  <a:pt x="4391" y="909"/>
                </a:lnTo>
                <a:lnTo>
                  <a:pt x="4388" y="911"/>
                </a:lnTo>
                <a:lnTo>
                  <a:pt x="4380" y="911"/>
                </a:lnTo>
                <a:lnTo>
                  <a:pt x="4354" y="911"/>
                </a:lnTo>
                <a:lnTo>
                  <a:pt x="4343" y="911"/>
                </a:lnTo>
                <a:lnTo>
                  <a:pt x="4338" y="911"/>
                </a:lnTo>
                <a:lnTo>
                  <a:pt x="4333" y="909"/>
                </a:lnTo>
                <a:lnTo>
                  <a:pt x="4317" y="909"/>
                </a:lnTo>
                <a:lnTo>
                  <a:pt x="4311" y="909"/>
                </a:lnTo>
                <a:lnTo>
                  <a:pt x="4305" y="909"/>
                </a:lnTo>
                <a:lnTo>
                  <a:pt x="4296" y="908"/>
                </a:lnTo>
                <a:lnTo>
                  <a:pt x="4293" y="908"/>
                </a:lnTo>
                <a:lnTo>
                  <a:pt x="4287" y="908"/>
                </a:lnTo>
                <a:lnTo>
                  <a:pt x="4279" y="907"/>
                </a:lnTo>
                <a:lnTo>
                  <a:pt x="4272" y="907"/>
                </a:lnTo>
                <a:lnTo>
                  <a:pt x="4266" y="906"/>
                </a:lnTo>
                <a:lnTo>
                  <a:pt x="4259" y="906"/>
                </a:lnTo>
                <a:lnTo>
                  <a:pt x="4253" y="905"/>
                </a:lnTo>
                <a:lnTo>
                  <a:pt x="4247" y="905"/>
                </a:lnTo>
                <a:lnTo>
                  <a:pt x="4243" y="903"/>
                </a:lnTo>
                <a:lnTo>
                  <a:pt x="4238" y="903"/>
                </a:lnTo>
                <a:lnTo>
                  <a:pt x="4233" y="902"/>
                </a:lnTo>
                <a:lnTo>
                  <a:pt x="4228" y="901"/>
                </a:lnTo>
                <a:lnTo>
                  <a:pt x="4218" y="901"/>
                </a:lnTo>
                <a:lnTo>
                  <a:pt x="4207" y="898"/>
                </a:lnTo>
                <a:lnTo>
                  <a:pt x="4201" y="898"/>
                </a:lnTo>
                <a:lnTo>
                  <a:pt x="4197" y="897"/>
                </a:lnTo>
                <a:lnTo>
                  <a:pt x="4193" y="897"/>
                </a:lnTo>
                <a:lnTo>
                  <a:pt x="4187" y="895"/>
                </a:lnTo>
                <a:lnTo>
                  <a:pt x="4181" y="894"/>
                </a:lnTo>
                <a:lnTo>
                  <a:pt x="4177" y="894"/>
                </a:lnTo>
                <a:lnTo>
                  <a:pt x="4172" y="892"/>
                </a:lnTo>
                <a:lnTo>
                  <a:pt x="4166" y="891"/>
                </a:lnTo>
                <a:lnTo>
                  <a:pt x="4170" y="746"/>
                </a:lnTo>
                <a:lnTo>
                  <a:pt x="4183" y="748"/>
                </a:lnTo>
                <a:lnTo>
                  <a:pt x="4188" y="748"/>
                </a:lnTo>
                <a:lnTo>
                  <a:pt x="4194" y="750"/>
                </a:lnTo>
                <a:lnTo>
                  <a:pt x="4200" y="751"/>
                </a:lnTo>
                <a:lnTo>
                  <a:pt x="4204" y="751"/>
                </a:lnTo>
                <a:lnTo>
                  <a:pt x="4210" y="752"/>
                </a:lnTo>
                <a:lnTo>
                  <a:pt x="4216" y="752"/>
                </a:lnTo>
                <a:lnTo>
                  <a:pt x="4222" y="753"/>
                </a:lnTo>
                <a:lnTo>
                  <a:pt x="4228" y="754"/>
                </a:lnTo>
                <a:lnTo>
                  <a:pt x="4239" y="754"/>
                </a:lnTo>
                <a:lnTo>
                  <a:pt x="4244" y="756"/>
                </a:lnTo>
                <a:lnTo>
                  <a:pt x="4250" y="756"/>
                </a:lnTo>
                <a:lnTo>
                  <a:pt x="4256" y="757"/>
                </a:lnTo>
                <a:lnTo>
                  <a:pt x="4262" y="757"/>
                </a:lnTo>
                <a:lnTo>
                  <a:pt x="4269" y="758"/>
                </a:lnTo>
                <a:lnTo>
                  <a:pt x="4275" y="758"/>
                </a:lnTo>
                <a:lnTo>
                  <a:pt x="4284" y="759"/>
                </a:lnTo>
                <a:lnTo>
                  <a:pt x="4286" y="759"/>
                </a:lnTo>
                <a:lnTo>
                  <a:pt x="4292" y="759"/>
                </a:lnTo>
                <a:lnTo>
                  <a:pt x="4302" y="761"/>
                </a:lnTo>
                <a:lnTo>
                  <a:pt x="4305" y="761"/>
                </a:lnTo>
                <a:lnTo>
                  <a:pt x="4308" y="761"/>
                </a:lnTo>
                <a:lnTo>
                  <a:pt x="4314" y="762"/>
                </a:lnTo>
                <a:lnTo>
                  <a:pt x="4331" y="762"/>
                </a:lnTo>
                <a:lnTo>
                  <a:pt x="4351" y="762"/>
                </a:lnTo>
                <a:lnTo>
                  <a:pt x="4365" y="762"/>
                </a:lnTo>
                <a:lnTo>
                  <a:pt x="4372" y="761"/>
                </a:lnTo>
                <a:lnTo>
                  <a:pt x="4378" y="759"/>
                </a:lnTo>
                <a:lnTo>
                  <a:pt x="4384" y="757"/>
                </a:lnTo>
                <a:lnTo>
                  <a:pt x="4389" y="756"/>
                </a:lnTo>
                <a:lnTo>
                  <a:pt x="4398" y="751"/>
                </a:lnTo>
                <a:lnTo>
                  <a:pt x="4401" y="747"/>
                </a:lnTo>
                <a:lnTo>
                  <a:pt x="4405" y="743"/>
                </a:lnTo>
                <a:lnTo>
                  <a:pt x="4406" y="742"/>
                </a:lnTo>
                <a:lnTo>
                  <a:pt x="4406" y="740"/>
                </a:lnTo>
                <a:lnTo>
                  <a:pt x="4407" y="737"/>
                </a:lnTo>
                <a:lnTo>
                  <a:pt x="4409" y="735"/>
                </a:lnTo>
                <a:lnTo>
                  <a:pt x="4411" y="729"/>
                </a:lnTo>
                <a:lnTo>
                  <a:pt x="4412" y="726"/>
                </a:lnTo>
                <a:lnTo>
                  <a:pt x="4412" y="723"/>
                </a:lnTo>
                <a:lnTo>
                  <a:pt x="4413" y="719"/>
                </a:lnTo>
                <a:lnTo>
                  <a:pt x="4413" y="710"/>
                </a:lnTo>
                <a:lnTo>
                  <a:pt x="4413" y="693"/>
                </a:lnTo>
                <a:lnTo>
                  <a:pt x="4413" y="641"/>
                </a:lnTo>
                <a:lnTo>
                  <a:pt x="4406" y="648"/>
                </a:lnTo>
                <a:lnTo>
                  <a:pt x="4400" y="654"/>
                </a:lnTo>
                <a:lnTo>
                  <a:pt x="4395" y="658"/>
                </a:lnTo>
                <a:lnTo>
                  <a:pt x="4391" y="660"/>
                </a:lnTo>
                <a:lnTo>
                  <a:pt x="4389" y="663"/>
                </a:lnTo>
                <a:lnTo>
                  <a:pt x="4386" y="664"/>
                </a:lnTo>
                <a:lnTo>
                  <a:pt x="4385" y="665"/>
                </a:lnTo>
                <a:lnTo>
                  <a:pt x="4383" y="667"/>
                </a:lnTo>
                <a:lnTo>
                  <a:pt x="4382" y="668"/>
                </a:lnTo>
                <a:lnTo>
                  <a:pt x="4380" y="669"/>
                </a:lnTo>
                <a:lnTo>
                  <a:pt x="4378" y="670"/>
                </a:lnTo>
                <a:lnTo>
                  <a:pt x="4377" y="671"/>
                </a:lnTo>
                <a:lnTo>
                  <a:pt x="4374" y="673"/>
                </a:lnTo>
                <a:lnTo>
                  <a:pt x="4372" y="674"/>
                </a:lnTo>
                <a:lnTo>
                  <a:pt x="4368" y="676"/>
                </a:lnTo>
                <a:lnTo>
                  <a:pt x="4367" y="678"/>
                </a:lnTo>
                <a:lnTo>
                  <a:pt x="4365" y="678"/>
                </a:lnTo>
                <a:lnTo>
                  <a:pt x="4362" y="679"/>
                </a:lnTo>
                <a:lnTo>
                  <a:pt x="4357" y="681"/>
                </a:lnTo>
                <a:lnTo>
                  <a:pt x="4355" y="682"/>
                </a:lnTo>
                <a:lnTo>
                  <a:pt x="4350" y="685"/>
                </a:lnTo>
                <a:lnTo>
                  <a:pt x="4344" y="687"/>
                </a:lnTo>
                <a:lnTo>
                  <a:pt x="4342" y="687"/>
                </a:lnTo>
                <a:lnTo>
                  <a:pt x="4339" y="689"/>
                </a:lnTo>
                <a:lnTo>
                  <a:pt x="4337" y="689"/>
                </a:lnTo>
                <a:lnTo>
                  <a:pt x="4334" y="690"/>
                </a:lnTo>
                <a:lnTo>
                  <a:pt x="4333" y="690"/>
                </a:lnTo>
                <a:lnTo>
                  <a:pt x="4330" y="691"/>
                </a:lnTo>
                <a:lnTo>
                  <a:pt x="4326" y="691"/>
                </a:lnTo>
                <a:lnTo>
                  <a:pt x="4322" y="692"/>
                </a:lnTo>
                <a:lnTo>
                  <a:pt x="4310" y="692"/>
                </a:lnTo>
                <a:lnTo>
                  <a:pt x="4305" y="693"/>
                </a:lnTo>
                <a:lnTo>
                  <a:pt x="4298" y="693"/>
                </a:lnTo>
                <a:lnTo>
                  <a:pt x="4291" y="693"/>
                </a:lnTo>
                <a:lnTo>
                  <a:pt x="4286" y="692"/>
                </a:lnTo>
                <a:lnTo>
                  <a:pt x="4278" y="692"/>
                </a:lnTo>
                <a:lnTo>
                  <a:pt x="4273" y="692"/>
                </a:lnTo>
                <a:lnTo>
                  <a:pt x="4251" y="689"/>
                </a:lnTo>
                <a:lnTo>
                  <a:pt x="4237" y="684"/>
                </a:lnTo>
                <a:lnTo>
                  <a:pt x="4234" y="682"/>
                </a:lnTo>
                <a:lnTo>
                  <a:pt x="4232" y="681"/>
                </a:lnTo>
                <a:lnTo>
                  <a:pt x="4230" y="680"/>
                </a:lnTo>
                <a:lnTo>
                  <a:pt x="4228" y="679"/>
                </a:lnTo>
                <a:lnTo>
                  <a:pt x="4226" y="678"/>
                </a:lnTo>
                <a:lnTo>
                  <a:pt x="4221" y="676"/>
                </a:lnTo>
                <a:lnTo>
                  <a:pt x="4220" y="675"/>
                </a:lnTo>
                <a:lnTo>
                  <a:pt x="4217" y="673"/>
                </a:lnTo>
                <a:lnTo>
                  <a:pt x="4216" y="671"/>
                </a:lnTo>
                <a:lnTo>
                  <a:pt x="4214" y="670"/>
                </a:lnTo>
                <a:lnTo>
                  <a:pt x="4211" y="668"/>
                </a:lnTo>
                <a:lnTo>
                  <a:pt x="4207" y="665"/>
                </a:lnTo>
                <a:lnTo>
                  <a:pt x="4201" y="659"/>
                </a:lnTo>
                <a:lnTo>
                  <a:pt x="4195" y="654"/>
                </a:lnTo>
                <a:lnTo>
                  <a:pt x="4193" y="651"/>
                </a:lnTo>
                <a:lnTo>
                  <a:pt x="4191" y="648"/>
                </a:lnTo>
                <a:lnTo>
                  <a:pt x="4189" y="646"/>
                </a:lnTo>
                <a:lnTo>
                  <a:pt x="4188" y="645"/>
                </a:lnTo>
                <a:lnTo>
                  <a:pt x="4188" y="642"/>
                </a:lnTo>
                <a:lnTo>
                  <a:pt x="4186" y="641"/>
                </a:lnTo>
                <a:lnTo>
                  <a:pt x="4185" y="638"/>
                </a:lnTo>
                <a:lnTo>
                  <a:pt x="4185" y="636"/>
                </a:lnTo>
                <a:lnTo>
                  <a:pt x="4183" y="635"/>
                </a:lnTo>
                <a:lnTo>
                  <a:pt x="4182" y="632"/>
                </a:lnTo>
                <a:lnTo>
                  <a:pt x="4180" y="631"/>
                </a:lnTo>
                <a:lnTo>
                  <a:pt x="4180" y="629"/>
                </a:lnTo>
                <a:lnTo>
                  <a:pt x="4177" y="625"/>
                </a:lnTo>
                <a:lnTo>
                  <a:pt x="4177" y="623"/>
                </a:lnTo>
                <a:lnTo>
                  <a:pt x="4175" y="619"/>
                </a:lnTo>
                <a:lnTo>
                  <a:pt x="4175" y="618"/>
                </a:lnTo>
                <a:lnTo>
                  <a:pt x="4174" y="615"/>
                </a:lnTo>
                <a:lnTo>
                  <a:pt x="4172" y="612"/>
                </a:lnTo>
                <a:lnTo>
                  <a:pt x="4171" y="607"/>
                </a:lnTo>
                <a:lnTo>
                  <a:pt x="4170" y="606"/>
                </a:lnTo>
                <a:lnTo>
                  <a:pt x="4170" y="604"/>
                </a:lnTo>
                <a:lnTo>
                  <a:pt x="4169" y="602"/>
                </a:lnTo>
                <a:lnTo>
                  <a:pt x="4169" y="601"/>
                </a:lnTo>
                <a:lnTo>
                  <a:pt x="4166" y="595"/>
                </a:lnTo>
                <a:lnTo>
                  <a:pt x="4166" y="592"/>
                </a:lnTo>
                <a:lnTo>
                  <a:pt x="4164" y="586"/>
                </a:lnTo>
                <a:lnTo>
                  <a:pt x="4163" y="579"/>
                </a:lnTo>
                <a:lnTo>
                  <a:pt x="4162" y="573"/>
                </a:lnTo>
                <a:lnTo>
                  <a:pt x="4159" y="564"/>
                </a:lnTo>
                <a:lnTo>
                  <a:pt x="4159" y="560"/>
                </a:lnTo>
                <a:lnTo>
                  <a:pt x="4159" y="557"/>
                </a:lnTo>
                <a:lnTo>
                  <a:pt x="4158" y="553"/>
                </a:lnTo>
                <a:lnTo>
                  <a:pt x="4157" y="538"/>
                </a:lnTo>
                <a:lnTo>
                  <a:pt x="4156" y="534"/>
                </a:lnTo>
                <a:lnTo>
                  <a:pt x="4156" y="527"/>
                </a:lnTo>
                <a:lnTo>
                  <a:pt x="4154" y="520"/>
                </a:lnTo>
                <a:lnTo>
                  <a:pt x="4154" y="512"/>
                </a:lnTo>
                <a:lnTo>
                  <a:pt x="4153" y="502"/>
                </a:lnTo>
                <a:lnTo>
                  <a:pt x="4153" y="485"/>
                </a:lnTo>
                <a:lnTo>
                  <a:pt x="4152" y="452"/>
                </a:lnTo>
                <a:lnTo>
                  <a:pt x="4152" y="382"/>
                </a:lnTo>
                <a:lnTo>
                  <a:pt x="4152" y="352"/>
                </a:lnTo>
                <a:lnTo>
                  <a:pt x="4152" y="343"/>
                </a:lnTo>
                <a:lnTo>
                  <a:pt x="4152" y="339"/>
                </a:lnTo>
                <a:lnTo>
                  <a:pt x="4153" y="336"/>
                </a:lnTo>
                <a:lnTo>
                  <a:pt x="4153" y="320"/>
                </a:lnTo>
                <a:lnTo>
                  <a:pt x="4153" y="309"/>
                </a:lnTo>
                <a:lnTo>
                  <a:pt x="4154" y="300"/>
                </a:lnTo>
                <a:lnTo>
                  <a:pt x="4154" y="293"/>
                </a:lnTo>
                <a:lnTo>
                  <a:pt x="4156" y="287"/>
                </a:lnTo>
                <a:lnTo>
                  <a:pt x="4157" y="277"/>
                </a:lnTo>
                <a:lnTo>
                  <a:pt x="4157" y="272"/>
                </a:lnTo>
                <a:lnTo>
                  <a:pt x="4158" y="267"/>
                </a:lnTo>
                <a:lnTo>
                  <a:pt x="4158" y="264"/>
                </a:lnTo>
                <a:lnTo>
                  <a:pt x="4159" y="260"/>
                </a:lnTo>
                <a:lnTo>
                  <a:pt x="4159" y="257"/>
                </a:lnTo>
                <a:lnTo>
                  <a:pt x="4159" y="254"/>
                </a:lnTo>
                <a:lnTo>
                  <a:pt x="4160" y="250"/>
                </a:lnTo>
                <a:lnTo>
                  <a:pt x="4160" y="248"/>
                </a:lnTo>
                <a:lnTo>
                  <a:pt x="4162" y="246"/>
                </a:lnTo>
                <a:lnTo>
                  <a:pt x="4162" y="242"/>
                </a:lnTo>
                <a:lnTo>
                  <a:pt x="4170" y="213"/>
                </a:lnTo>
                <a:lnTo>
                  <a:pt x="4172" y="209"/>
                </a:lnTo>
                <a:lnTo>
                  <a:pt x="4174" y="205"/>
                </a:lnTo>
                <a:lnTo>
                  <a:pt x="4174" y="203"/>
                </a:lnTo>
                <a:lnTo>
                  <a:pt x="4175" y="200"/>
                </a:lnTo>
                <a:lnTo>
                  <a:pt x="4176" y="197"/>
                </a:lnTo>
                <a:lnTo>
                  <a:pt x="4178" y="194"/>
                </a:lnTo>
                <a:lnTo>
                  <a:pt x="4181" y="189"/>
                </a:lnTo>
                <a:lnTo>
                  <a:pt x="4183" y="185"/>
                </a:lnTo>
                <a:lnTo>
                  <a:pt x="4185" y="183"/>
                </a:lnTo>
                <a:lnTo>
                  <a:pt x="4186" y="181"/>
                </a:lnTo>
                <a:lnTo>
                  <a:pt x="4187" y="180"/>
                </a:lnTo>
                <a:lnTo>
                  <a:pt x="4188" y="177"/>
                </a:lnTo>
                <a:lnTo>
                  <a:pt x="4189" y="175"/>
                </a:lnTo>
                <a:lnTo>
                  <a:pt x="4191" y="174"/>
                </a:lnTo>
                <a:lnTo>
                  <a:pt x="4193" y="171"/>
                </a:lnTo>
                <a:lnTo>
                  <a:pt x="4195" y="167"/>
                </a:lnTo>
                <a:lnTo>
                  <a:pt x="4201" y="163"/>
                </a:lnTo>
                <a:lnTo>
                  <a:pt x="4206" y="156"/>
                </a:lnTo>
                <a:lnTo>
                  <a:pt x="4209" y="154"/>
                </a:lnTo>
                <a:lnTo>
                  <a:pt x="4212" y="152"/>
                </a:lnTo>
                <a:lnTo>
                  <a:pt x="4214" y="150"/>
                </a:lnTo>
                <a:lnTo>
                  <a:pt x="4216" y="149"/>
                </a:lnTo>
                <a:lnTo>
                  <a:pt x="4217" y="148"/>
                </a:lnTo>
                <a:lnTo>
                  <a:pt x="4218" y="147"/>
                </a:lnTo>
                <a:lnTo>
                  <a:pt x="4221" y="145"/>
                </a:lnTo>
                <a:lnTo>
                  <a:pt x="4223" y="145"/>
                </a:lnTo>
                <a:lnTo>
                  <a:pt x="4226" y="144"/>
                </a:lnTo>
                <a:lnTo>
                  <a:pt x="4227" y="143"/>
                </a:lnTo>
                <a:lnTo>
                  <a:pt x="4230" y="142"/>
                </a:lnTo>
                <a:lnTo>
                  <a:pt x="4233" y="139"/>
                </a:lnTo>
                <a:lnTo>
                  <a:pt x="4235" y="139"/>
                </a:lnTo>
                <a:lnTo>
                  <a:pt x="4238" y="138"/>
                </a:lnTo>
                <a:lnTo>
                  <a:pt x="4258" y="132"/>
                </a:lnTo>
                <a:lnTo>
                  <a:pt x="4261" y="132"/>
                </a:lnTo>
                <a:lnTo>
                  <a:pt x="4264" y="131"/>
                </a:lnTo>
                <a:lnTo>
                  <a:pt x="4268" y="131"/>
                </a:lnTo>
                <a:lnTo>
                  <a:pt x="4273" y="130"/>
                </a:lnTo>
                <a:lnTo>
                  <a:pt x="4278" y="130"/>
                </a:lnTo>
                <a:lnTo>
                  <a:pt x="4286" y="128"/>
                </a:lnTo>
                <a:lnTo>
                  <a:pt x="4291" y="128"/>
                </a:lnTo>
                <a:lnTo>
                  <a:pt x="4297" y="127"/>
                </a:lnTo>
                <a:lnTo>
                  <a:pt x="4303" y="128"/>
                </a:lnTo>
                <a:lnTo>
                  <a:pt x="4308" y="128"/>
                </a:lnTo>
                <a:lnTo>
                  <a:pt x="4315" y="128"/>
                </a:lnTo>
                <a:lnTo>
                  <a:pt x="4319" y="130"/>
                </a:lnTo>
                <a:lnTo>
                  <a:pt x="4322" y="130"/>
                </a:lnTo>
                <a:lnTo>
                  <a:pt x="4326" y="131"/>
                </a:lnTo>
                <a:lnTo>
                  <a:pt x="4328" y="131"/>
                </a:lnTo>
                <a:lnTo>
                  <a:pt x="4350" y="137"/>
                </a:lnTo>
                <a:lnTo>
                  <a:pt x="4354" y="138"/>
                </a:lnTo>
                <a:lnTo>
                  <a:pt x="4356" y="139"/>
                </a:lnTo>
                <a:lnTo>
                  <a:pt x="4360" y="141"/>
                </a:lnTo>
                <a:lnTo>
                  <a:pt x="4362" y="142"/>
                </a:lnTo>
                <a:lnTo>
                  <a:pt x="4363" y="143"/>
                </a:lnTo>
                <a:lnTo>
                  <a:pt x="4367" y="144"/>
                </a:lnTo>
                <a:lnTo>
                  <a:pt x="4369" y="145"/>
                </a:lnTo>
                <a:lnTo>
                  <a:pt x="4372" y="147"/>
                </a:lnTo>
                <a:lnTo>
                  <a:pt x="4374" y="148"/>
                </a:lnTo>
                <a:lnTo>
                  <a:pt x="4377" y="149"/>
                </a:lnTo>
                <a:lnTo>
                  <a:pt x="4378" y="150"/>
                </a:lnTo>
                <a:lnTo>
                  <a:pt x="4382" y="152"/>
                </a:lnTo>
                <a:lnTo>
                  <a:pt x="4383" y="153"/>
                </a:lnTo>
                <a:lnTo>
                  <a:pt x="4385" y="155"/>
                </a:lnTo>
                <a:lnTo>
                  <a:pt x="4388" y="155"/>
                </a:lnTo>
                <a:lnTo>
                  <a:pt x="4389" y="156"/>
                </a:lnTo>
                <a:lnTo>
                  <a:pt x="4391" y="159"/>
                </a:lnTo>
                <a:lnTo>
                  <a:pt x="4394" y="160"/>
                </a:lnTo>
                <a:lnTo>
                  <a:pt x="4395" y="161"/>
                </a:lnTo>
                <a:lnTo>
                  <a:pt x="4397" y="163"/>
                </a:lnTo>
                <a:lnTo>
                  <a:pt x="4398" y="164"/>
                </a:lnTo>
                <a:lnTo>
                  <a:pt x="4400" y="165"/>
                </a:lnTo>
                <a:lnTo>
                  <a:pt x="4402" y="166"/>
                </a:lnTo>
                <a:lnTo>
                  <a:pt x="4405" y="169"/>
                </a:lnTo>
                <a:lnTo>
                  <a:pt x="4407" y="170"/>
                </a:lnTo>
                <a:lnTo>
                  <a:pt x="4409" y="172"/>
                </a:lnTo>
                <a:lnTo>
                  <a:pt x="4412" y="175"/>
                </a:lnTo>
                <a:lnTo>
                  <a:pt x="4415" y="177"/>
                </a:lnTo>
                <a:lnTo>
                  <a:pt x="4417" y="178"/>
                </a:lnTo>
                <a:lnTo>
                  <a:pt x="4420" y="180"/>
                </a:lnTo>
                <a:lnTo>
                  <a:pt x="4420" y="175"/>
                </a:lnTo>
                <a:lnTo>
                  <a:pt x="4421" y="172"/>
                </a:lnTo>
                <a:lnTo>
                  <a:pt x="4421" y="170"/>
                </a:lnTo>
                <a:lnTo>
                  <a:pt x="4423" y="167"/>
                </a:lnTo>
                <a:lnTo>
                  <a:pt x="4423" y="165"/>
                </a:lnTo>
                <a:lnTo>
                  <a:pt x="4424" y="164"/>
                </a:lnTo>
                <a:lnTo>
                  <a:pt x="4424" y="161"/>
                </a:lnTo>
                <a:lnTo>
                  <a:pt x="4425" y="156"/>
                </a:lnTo>
                <a:lnTo>
                  <a:pt x="4426" y="152"/>
                </a:lnTo>
                <a:lnTo>
                  <a:pt x="4430" y="142"/>
                </a:lnTo>
                <a:close/>
                <a:moveTo>
                  <a:pt x="3765" y="532"/>
                </a:moveTo>
                <a:lnTo>
                  <a:pt x="3520" y="532"/>
                </a:lnTo>
                <a:lnTo>
                  <a:pt x="3520" y="566"/>
                </a:lnTo>
                <a:lnTo>
                  <a:pt x="3520" y="575"/>
                </a:lnTo>
                <a:lnTo>
                  <a:pt x="3520" y="580"/>
                </a:lnTo>
                <a:lnTo>
                  <a:pt x="3521" y="584"/>
                </a:lnTo>
                <a:lnTo>
                  <a:pt x="3521" y="591"/>
                </a:lnTo>
                <a:lnTo>
                  <a:pt x="3521" y="596"/>
                </a:lnTo>
                <a:lnTo>
                  <a:pt x="3521" y="599"/>
                </a:lnTo>
                <a:lnTo>
                  <a:pt x="3522" y="602"/>
                </a:lnTo>
                <a:lnTo>
                  <a:pt x="3527" y="617"/>
                </a:lnTo>
                <a:lnTo>
                  <a:pt x="3529" y="619"/>
                </a:lnTo>
                <a:lnTo>
                  <a:pt x="3531" y="621"/>
                </a:lnTo>
                <a:lnTo>
                  <a:pt x="3532" y="623"/>
                </a:lnTo>
                <a:lnTo>
                  <a:pt x="3537" y="629"/>
                </a:lnTo>
                <a:lnTo>
                  <a:pt x="3538" y="630"/>
                </a:lnTo>
                <a:lnTo>
                  <a:pt x="3540" y="631"/>
                </a:lnTo>
                <a:lnTo>
                  <a:pt x="3542" y="632"/>
                </a:lnTo>
                <a:lnTo>
                  <a:pt x="3544" y="634"/>
                </a:lnTo>
                <a:lnTo>
                  <a:pt x="3556" y="638"/>
                </a:lnTo>
                <a:lnTo>
                  <a:pt x="3558" y="638"/>
                </a:lnTo>
                <a:lnTo>
                  <a:pt x="3568" y="641"/>
                </a:lnTo>
                <a:lnTo>
                  <a:pt x="3574" y="641"/>
                </a:lnTo>
                <a:lnTo>
                  <a:pt x="3580" y="642"/>
                </a:lnTo>
                <a:lnTo>
                  <a:pt x="3587" y="642"/>
                </a:lnTo>
                <a:lnTo>
                  <a:pt x="3609" y="642"/>
                </a:lnTo>
                <a:lnTo>
                  <a:pt x="3614" y="641"/>
                </a:lnTo>
                <a:lnTo>
                  <a:pt x="3627" y="641"/>
                </a:lnTo>
                <a:lnTo>
                  <a:pt x="3635" y="640"/>
                </a:lnTo>
                <a:lnTo>
                  <a:pt x="3641" y="640"/>
                </a:lnTo>
                <a:lnTo>
                  <a:pt x="3647" y="638"/>
                </a:lnTo>
                <a:lnTo>
                  <a:pt x="3651" y="638"/>
                </a:lnTo>
                <a:lnTo>
                  <a:pt x="3655" y="637"/>
                </a:lnTo>
                <a:lnTo>
                  <a:pt x="3665" y="636"/>
                </a:lnTo>
                <a:lnTo>
                  <a:pt x="3670" y="636"/>
                </a:lnTo>
                <a:lnTo>
                  <a:pt x="3674" y="635"/>
                </a:lnTo>
                <a:lnTo>
                  <a:pt x="3683" y="634"/>
                </a:lnTo>
                <a:lnTo>
                  <a:pt x="3690" y="632"/>
                </a:lnTo>
                <a:lnTo>
                  <a:pt x="3696" y="631"/>
                </a:lnTo>
                <a:lnTo>
                  <a:pt x="3702" y="630"/>
                </a:lnTo>
                <a:lnTo>
                  <a:pt x="3708" y="629"/>
                </a:lnTo>
                <a:lnTo>
                  <a:pt x="3714" y="628"/>
                </a:lnTo>
                <a:lnTo>
                  <a:pt x="3717" y="628"/>
                </a:lnTo>
                <a:lnTo>
                  <a:pt x="3719" y="626"/>
                </a:lnTo>
                <a:lnTo>
                  <a:pt x="3723" y="626"/>
                </a:lnTo>
                <a:lnTo>
                  <a:pt x="3757" y="618"/>
                </a:lnTo>
                <a:lnTo>
                  <a:pt x="3760" y="768"/>
                </a:lnTo>
                <a:lnTo>
                  <a:pt x="3758" y="769"/>
                </a:lnTo>
                <a:lnTo>
                  <a:pt x="3755" y="769"/>
                </a:lnTo>
                <a:lnTo>
                  <a:pt x="3751" y="772"/>
                </a:lnTo>
                <a:lnTo>
                  <a:pt x="3748" y="772"/>
                </a:lnTo>
                <a:lnTo>
                  <a:pt x="3747" y="772"/>
                </a:lnTo>
                <a:lnTo>
                  <a:pt x="3745" y="773"/>
                </a:lnTo>
                <a:lnTo>
                  <a:pt x="3743" y="773"/>
                </a:lnTo>
                <a:lnTo>
                  <a:pt x="3739" y="774"/>
                </a:lnTo>
                <a:lnTo>
                  <a:pt x="3735" y="775"/>
                </a:lnTo>
                <a:lnTo>
                  <a:pt x="3729" y="778"/>
                </a:lnTo>
                <a:lnTo>
                  <a:pt x="3685" y="787"/>
                </a:lnTo>
                <a:lnTo>
                  <a:pt x="3682" y="787"/>
                </a:lnTo>
                <a:lnTo>
                  <a:pt x="3679" y="789"/>
                </a:lnTo>
                <a:lnTo>
                  <a:pt x="3676" y="789"/>
                </a:lnTo>
                <a:lnTo>
                  <a:pt x="3668" y="790"/>
                </a:lnTo>
                <a:lnTo>
                  <a:pt x="3661" y="791"/>
                </a:lnTo>
                <a:lnTo>
                  <a:pt x="3653" y="792"/>
                </a:lnTo>
                <a:lnTo>
                  <a:pt x="3645" y="795"/>
                </a:lnTo>
                <a:lnTo>
                  <a:pt x="3631" y="795"/>
                </a:lnTo>
                <a:lnTo>
                  <a:pt x="3626" y="796"/>
                </a:lnTo>
                <a:lnTo>
                  <a:pt x="3620" y="796"/>
                </a:lnTo>
                <a:lnTo>
                  <a:pt x="3614" y="797"/>
                </a:lnTo>
                <a:lnTo>
                  <a:pt x="3607" y="797"/>
                </a:lnTo>
                <a:lnTo>
                  <a:pt x="3600" y="798"/>
                </a:lnTo>
                <a:lnTo>
                  <a:pt x="3590" y="798"/>
                </a:lnTo>
                <a:lnTo>
                  <a:pt x="3578" y="800"/>
                </a:lnTo>
                <a:lnTo>
                  <a:pt x="3545" y="800"/>
                </a:lnTo>
                <a:lnTo>
                  <a:pt x="3537" y="800"/>
                </a:lnTo>
                <a:lnTo>
                  <a:pt x="3533" y="800"/>
                </a:lnTo>
                <a:lnTo>
                  <a:pt x="3529" y="800"/>
                </a:lnTo>
                <a:lnTo>
                  <a:pt x="3520" y="800"/>
                </a:lnTo>
                <a:lnTo>
                  <a:pt x="3512" y="798"/>
                </a:lnTo>
                <a:lnTo>
                  <a:pt x="3506" y="798"/>
                </a:lnTo>
                <a:lnTo>
                  <a:pt x="3502" y="797"/>
                </a:lnTo>
                <a:lnTo>
                  <a:pt x="3498" y="797"/>
                </a:lnTo>
                <a:lnTo>
                  <a:pt x="3493" y="796"/>
                </a:lnTo>
                <a:lnTo>
                  <a:pt x="3491" y="796"/>
                </a:lnTo>
                <a:lnTo>
                  <a:pt x="3487" y="795"/>
                </a:lnTo>
                <a:lnTo>
                  <a:pt x="3483" y="795"/>
                </a:lnTo>
                <a:lnTo>
                  <a:pt x="3481" y="795"/>
                </a:lnTo>
                <a:lnTo>
                  <a:pt x="3479" y="793"/>
                </a:lnTo>
                <a:lnTo>
                  <a:pt x="3476" y="793"/>
                </a:lnTo>
                <a:lnTo>
                  <a:pt x="3452" y="786"/>
                </a:lnTo>
                <a:lnTo>
                  <a:pt x="3447" y="784"/>
                </a:lnTo>
                <a:lnTo>
                  <a:pt x="3445" y="782"/>
                </a:lnTo>
                <a:lnTo>
                  <a:pt x="3442" y="781"/>
                </a:lnTo>
                <a:lnTo>
                  <a:pt x="3440" y="781"/>
                </a:lnTo>
                <a:lnTo>
                  <a:pt x="3436" y="780"/>
                </a:lnTo>
                <a:lnTo>
                  <a:pt x="3434" y="779"/>
                </a:lnTo>
                <a:lnTo>
                  <a:pt x="3433" y="778"/>
                </a:lnTo>
                <a:lnTo>
                  <a:pt x="3430" y="776"/>
                </a:lnTo>
                <a:lnTo>
                  <a:pt x="3428" y="775"/>
                </a:lnTo>
                <a:lnTo>
                  <a:pt x="3425" y="774"/>
                </a:lnTo>
                <a:lnTo>
                  <a:pt x="3422" y="772"/>
                </a:lnTo>
                <a:lnTo>
                  <a:pt x="3421" y="770"/>
                </a:lnTo>
                <a:lnTo>
                  <a:pt x="3418" y="769"/>
                </a:lnTo>
                <a:lnTo>
                  <a:pt x="3416" y="768"/>
                </a:lnTo>
                <a:lnTo>
                  <a:pt x="3415" y="767"/>
                </a:lnTo>
                <a:lnTo>
                  <a:pt x="3412" y="765"/>
                </a:lnTo>
                <a:lnTo>
                  <a:pt x="3411" y="764"/>
                </a:lnTo>
                <a:lnTo>
                  <a:pt x="3410" y="763"/>
                </a:lnTo>
                <a:lnTo>
                  <a:pt x="3407" y="761"/>
                </a:lnTo>
                <a:lnTo>
                  <a:pt x="3405" y="758"/>
                </a:lnTo>
                <a:lnTo>
                  <a:pt x="3400" y="754"/>
                </a:lnTo>
                <a:lnTo>
                  <a:pt x="3393" y="748"/>
                </a:lnTo>
                <a:lnTo>
                  <a:pt x="3386" y="741"/>
                </a:lnTo>
                <a:lnTo>
                  <a:pt x="3382" y="736"/>
                </a:lnTo>
                <a:lnTo>
                  <a:pt x="3380" y="734"/>
                </a:lnTo>
                <a:lnTo>
                  <a:pt x="3377" y="731"/>
                </a:lnTo>
                <a:lnTo>
                  <a:pt x="3376" y="729"/>
                </a:lnTo>
                <a:lnTo>
                  <a:pt x="3375" y="726"/>
                </a:lnTo>
                <a:lnTo>
                  <a:pt x="3373" y="725"/>
                </a:lnTo>
                <a:lnTo>
                  <a:pt x="3372" y="723"/>
                </a:lnTo>
                <a:lnTo>
                  <a:pt x="3371" y="721"/>
                </a:lnTo>
                <a:lnTo>
                  <a:pt x="3370" y="720"/>
                </a:lnTo>
                <a:lnTo>
                  <a:pt x="3369" y="718"/>
                </a:lnTo>
                <a:lnTo>
                  <a:pt x="3367" y="715"/>
                </a:lnTo>
                <a:lnTo>
                  <a:pt x="3366" y="713"/>
                </a:lnTo>
                <a:lnTo>
                  <a:pt x="3364" y="708"/>
                </a:lnTo>
                <a:lnTo>
                  <a:pt x="3363" y="707"/>
                </a:lnTo>
                <a:lnTo>
                  <a:pt x="3361" y="704"/>
                </a:lnTo>
                <a:lnTo>
                  <a:pt x="3360" y="702"/>
                </a:lnTo>
                <a:lnTo>
                  <a:pt x="3359" y="700"/>
                </a:lnTo>
                <a:lnTo>
                  <a:pt x="3357" y="695"/>
                </a:lnTo>
                <a:lnTo>
                  <a:pt x="3357" y="693"/>
                </a:lnTo>
                <a:lnTo>
                  <a:pt x="3355" y="691"/>
                </a:lnTo>
                <a:lnTo>
                  <a:pt x="3354" y="690"/>
                </a:lnTo>
                <a:lnTo>
                  <a:pt x="3353" y="687"/>
                </a:lnTo>
                <a:lnTo>
                  <a:pt x="3353" y="685"/>
                </a:lnTo>
                <a:lnTo>
                  <a:pt x="3351" y="681"/>
                </a:lnTo>
                <a:lnTo>
                  <a:pt x="3349" y="676"/>
                </a:lnTo>
                <a:lnTo>
                  <a:pt x="3348" y="673"/>
                </a:lnTo>
                <a:lnTo>
                  <a:pt x="3347" y="671"/>
                </a:lnTo>
                <a:lnTo>
                  <a:pt x="3347" y="669"/>
                </a:lnTo>
                <a:lnTo>
                  <a:pt x="3347" y="668"/>
                </a:lnTo>
                <a:lnTo>
                  <a:pt x="3346" y="665"/>
                </a:lnTo>
                <a:lnTo>
                  <a:pt x="3346" y="663"/>
                </a:lnTo>
                <a:lnTo>
                  <a:pt x="3344" y="662"/>
                </a:lnTo>
                <a:lnTo>
                  <a:pt x="3344" y="660"/>
                </a:lnTo>
                <a:lnTo>
                  <a:pt x="3342" y="653"/>
                </a:lnTo>
                <a:lnTo>
                  <a:pt x="3341" y="648"/>
                </a:lnTo>
                <a:lnTo>
                  <a:pt x="3340" y="643"/>
                </a:lnTo>
                <a:lnTo>
                  <a:pt x="3338" y="638"/>
                </a:lnTo>
                <a:lnTo>
                  <a:pt x="3336" y="628"/>
                </a:lnTo>
                <a:lnTo>
                  <a:pt x="3335" y="620"/>
                </a:lnTo>
                <a:lnTo>
                  <a:pt x="3334" y="612"/>
                </a:lnTo>
                <a:lnTo>
                  <a:pt x="3332" y="604"/>
                </a:lnTo>
                <a:lnTo>
                  <a:pt x="3332" y="599"/>
                </a:lnTo>
                <a:lnTo>
                  <a:pt x="3332" y="593"/>
                </a:lnTo>
                <a:lnTo>
                  <a:pt x="3331" y="588"/>
                </a:lnTo>
                <a:lnTo>
                  <a:pt x="3331" y="581"/>
                </a:lnTo>
                <a:lnTo>
                  <a:pt x="3330" y="560"/>
                </a:lnTo>
                <a:lnTo>
                  <a:pt x="3329" y="556"/>
                </a:lnTo>
                <a:lnTo>
                  <a:pt x="3329" y="549"/>
                </a:lnTo>
                <a:lnTo>
                  <a:pt x="3329" y="536"/>
                </a:lnTo>
                <a:lnTo>
                  <a:pt x="3329" y="487"/>
                </a:lnTo>
                <a:lnTo>
                  <a:pt x="3329" y="414"/>
                </a:lnTo>
                <a:lnTo>
                  <a:pt x="3329" y="391"/>
                </a:lnTo>
                <a:lnTo>
                  <a:pt x="3329" y="385"/>
                </a:lnTo>
                <a:lnTo>
                  <a:pt x="3330" y="379"/>
                </a:lnTo>
                <a:lnTo>
                  <a:pt x="3330" y="368"/>
                </a:lnTo>
                <a:lnTo>
                  <a:pt x="3330" y="358"/>
                </a:lnTo>
                <a:lnTo>
                  <a:pt x="3331" y="352"/>
                </a:lnTo>
                <a:lnTo>
                  <a:pt x="3331" y="346"/>
                </a:lnTo>
                <a:lnTo>
                  <a:pt x="3332" y="339"/>
                </a:lnTo>
                <a:lnTo>
                  <a:pt x="3332" y="335"/>
                </a:lnTo>
                <a:lnTo>
                  <a:pt x="3334" y="326"/>
                </a:lnTo>
                <a:lnTo>
                  <a:pt x="3334" y="322"/>
                </a:lnTo>
                <a:lnTo>
                  <a:pt x="3336" y="313"/>
                </a:lnTo>
                <a:lnTo>
                  <a:pt x="3338" y="303"/>
                </a:lnTo>
                <a:lnTo>
                  <a:pt x="3338" y="297"/>
                </a:lnTo>
                <a:lnTo>
                  <a:pt x="3340" y="292"/>
                </a:lnTo>
                <a:lnTo>
                  <a:pt x="3341" y="287"/>
                </a:lnTo>
                <a:lnTo>
                  <a:pt x="3342" y="285"/>
                </a:lnTo>
                <a:lnTo>
                  <a:pt x="3342" y="282"/>
                </a:lnTo>
                <a:lnTo>
                  <a:pt x="3343" y="281"/>
                </a:lnTo>
                <a:lnTo>
                  <a:pt x="3343" y="278"/>
                </a:lnTo>
                <a:lnTo>
                  <a:pt x="3344" y="276"/>
                </a:lnTo>
                <a:lnTo>
                  <a:pt x="3344" y="275"/>
                </a:lnTo>
                <a:lnTo>
                  <a:pt x="3346" y="272"/>
                </a:lnTo>
                <a:lnTo>
                  <a:pt x="3346" y="270"/>
                </a:lnTo>
                <a:lnTo>
                  <a:pt x="3347" y="269"/>
                </a:lnTo>
                <a:lnTo>
                  <a:pt x="3347" y="267"/>
                </a:lnTo>
                <a:lnTo>
                  <a:pt x="3347" y="265"/>
                </a:lnTo>
                <a:lnTo>
                  <a:pt x="3348" y="264"/>
                </a:lnTo>
                <a:lnTo>
                  <a:pt x="3348" y="261"/>
                </a:lnTo>
                <a:lnTo>
                  <a:pt x="3349" y="258"/>
                </a:lnTo>
                <a:lnTo>
                  <a:pt x="3352" y="253"/>
                </a:lnTo>
                <a:lnTo>
                  <a:pt x="3353" y="250"/>
                </a:lnTo>
                <a:lnTo>
                  <a:pt x="3354" y="248"/>
                </a:lnTo>
                <a:lnTo>
                  <a:pt x="3355" y="244"/>
                </a:lnTo>
                <a:lnTo>
                  <a:pt x="3357" y="242"/>
                </a:lnTo>
                <a:lnTo>
                  <a:pt x="3358" y="239"/>
                </a:lnTo>
                <a:lnTo>
                  <a:pt x="3359" y="236"/>
                </a:lnTo>
                <a:lnTo>
                  <a:pt x="3360" y="233"/>
                </a:lnTo>
                <a:lnTo>
                  <a:pt x="3361" y="231"/>
                </a:lnTo>
                <a:lnTo>
                  <a:pt x="3363" y="228"/>
                </a:lnTo>
                <a:lnTo>
                  <a:pt x="3364" y="226"/>
                </a:lnTo>
                <a:lnTo>
                  <a:pt x="3365" y="225"/>
                </a:lnTo>
                <a:lnTo>
                  <a:pt x="3366" y="221"/>
                </a:lnTo>
                <a:lnTo>
                  <a:pt x="3369" y="217"/>
                </a:lnTo>
                <a:lnTo>
                  <a:pt x="3370" y="215"/>
                </a:lnTo>
                <a:lnTo>
                  <a:pt x="3371" y="214"/>
                </a:lnTo>
                <a:lnTo>
                  <a:pt x="3373" y="210"/>
                </a:lnTo>
                <a:lnTo>
                  <a:pt x="3375" y="209"/>
                </a:lnTo>
                <a:lnTo>
                  <a:pt x="3376" y="208"/>
                </a:lnTo>
                <a:lnTo>
                  <a:pt x="3377" y="206"/>
                </a:lnTo>
                <a:lnTo>
                  <a:pt x="3378" y="204"/>
                </a:lnTo>
                <a:lnTo>
                  <a:pt x="3381" y="202"/>
                </a:lnTo>
                <a:lnTo>
                  <a:pt x="3382" y="199"/>
                </a:lnTo>
                <a:lnTo>
                  <a:pt x="3384" y="195"/>
                </a:lnTo>
                <a:lnTo>
                  <a:pt x="3388" y="192"/>
                </a:lnTo>
                <a:lnTo>
                  <a:pt x="3396" y="183"/>
                </a:lnTo>
                <a:lnTo>
                  <a:pt x="3404" y="176"/>
                </a:lnTo>
                <a:lnTo>
                  <a:pt x="3407" y="172"/>
                </a:lnTo>
                <a:lnTo>
                  <a:pt x="3410" y="170"/>
                </a:lnTo>
                <a:lnTo>
                  <a:pt x="3412" y="167"/>
                </a:lnTo>
                <a:lnTo>
                  <a:pt x="3415" y="167"/>
                </a:lnTo>
                <a:lnTo>
                  <a:pt x="3416" y="166"/>
                </a:lnTo>
                <a:lnTo>
                  <a:pt x="3418" y="165"/>
                </a:lnTo>
                <a:lnTo>
                  <a:pt x="3419" y="164"/>
                </a:lnTo>
                <a:lnTo>
                  <a:pt x="3421" y="163"/>
                </a:lnTo>
                <a:lnTo>
                  <a:pt x="3422" y="161"/>
                </a:lnTo>
                <a:lnTo>
                  <a:pt x="3424" y="160"/>
                </a:lnTo>
                <a:lnTo>
                  <a:pt x="3427" y="159"/>
                </a:lnTo>
                <a:lnTo>
                  <a:pt x="3429" y="158"/>
                </a:lnTo>
                <a:lnTo>
                  <a:pt x="3432" y="156"/>
                </a:lnTo>
                <a:lnTo>
                  <a:pt x="3434" y="155"/>
                </a:lnTo>
                <a:lnTo>
                  <a:pt x="3435" y="153"/>
                </a:lnTo>
                <a:lnTo>
                  <a:pt x="3439" y="152"/>
                </a:lnTo>
                <a:lnTo>
                  <a:pt x="3444" y="150"/>
                </a:lnTo>
                <a:lnTo>
                  <a:pt x="3445" y="149"/>
                </a:lnTo>
                <a:lnTo>
                  <a:pt x="3448" y="148"/>
                </a:lnTo>
                <a:lnTo>
                  <a:pt x="3450" y="147"/>
                </a:lnTo>
                <a:lnTo>
                  <a:pt x="3454" y="145"/>
                </a:lnTo>
                <a:lnTo>
                  <a:pt x="3456" y="144"/>
                </a:lnTo>
                <a:lnTo>
                  <a:pt x="3463" y="142"/>
                </a:lnTo>
                <a:lnTo>
                  <a:pt x="3464" y="142"/>
                </a:lnTo>
                <a:lnTo>
                  <a:pt x="3465" y="141"/>
                </a:lnTo>
                <a:lnTo>
                  <a:pt x="3468" y="141"/>
                </a:lnTo>
                <a:lnTo>
                  <a:pt x="3469" y="139"/>
                </a:lnTo>
                <a:lnTo>
                  <a:pt x="3471" y="139"/>
                </a:lnTo>
                <a:lnTo>
                  <a:pt x="3475" y="138"/>
                </a:lnTo>
                <a:lnTo>
                  <a:pt x="3477" y="137"/>
                </a:lnTo>
                <a:lnTo>
                  <a:pt x="3480" y="137"/>
                </a:lnTo>
                <a:lnTo>
                  <a:pt x="3482" y="136"/>
                </a:lnTo>
                <a:lnTo>
                  <a:pt x="3485" y="136"/>
                </a:lnTo>
                <a:lnTo>
                  <a:pt x="3490" y="134"/>
                </a:lnTo>
                <a:lnTo>
                  <a:pt x="3496" y="133"/>
                </a:lnTo>
                <a:lnTo>
                  <a:pt x="3499" y="133"/>
                </a:lnTo>
                <a:lnTo>
                  <a:pt x="3503" y="132"/>
                </a:lnTo>
                <a:lnTo>
                  <a:pt x="3506" y="132"/>
                </a:lnTo>
                <a:lnTo>
                  <a:pt x="3511" y="131"/>
                </a:lnTo>
                <a:lnTo>
                  <a:pt x="3516" y="131"/>
                </a:lnTo>
                <a:lnTo>
                  <a:pt x="3521" y="130"/>
                </a:lnTo>
                <a:lnTo>
                  <a:pt x="3528" y="130"/>
                </a:lnTo>
                <a:lnTo>
                  <a:pt x="3539" y="128"/>
                </a:lnTo>
                <a:lnTo>
                  <a:pt x="3545" y="128"/>
                </a:lnTo>
                <a:lnTo>
                  <a:pt x="3551" y="127"/>
                </a:lnTo>
                <a:lnTo>
                  <a:pt x="3564" y="128"/>
                </a:lnTo>
                <a:lnTo>
                  <a:pt x="3589" y="130"/>
                </a:lnTo>
                <a:lnTo>
                  <a:pt x="3595" y="130"/>
                </a:lnTo>
                <a:lnTo>
                  <a:pt x="3601" y="131"/>
                </a:lnTo>
                <a:lnTo>
                  <a:pt x="3607" y="132"/>
                </a:lnTo>
                <a:lnTo>
                  <a:pt x="3610" y="132"/>
                </a:lnTo>
                <a:lnTo>
                  <a:pt x="3613" y="133"/>
                </a:lnTo>
                <a:lnTo>
                  <a:pt x="3616" y="133"/>
                </a:lnTo>
                <a:lnTo>
                  <a:pt x="3619" y="134"/>
                </a:lnTo>
                <a:lnTo>
                  <a:pt x="3644" y="142"/>
                </a:lnTo>
                <a:lnTo>
                  <a:pt x="3648" y="143"/>
                </a:lnTo>
                <a:lnTo>
                  <a:pt x="3650" y="144"/>
                </a:lnTo>
                <a:lnTo>
                  <a:pt x="3653" y="145"/>
                </a:lnTo>
                <a:lnTo>
                  <a:pt x="3656" y="147"/>
                </a:lnTo>
                <a:lnTo>
                  <a:pt x="3659" y="148"/>
                </a:lnTo>
                <a:lnTo>
                  <a:pt x="3661" y="149"/>
                </a:lnTo>
                <a:lnTo>
                  <a:pt x="3664" y="150"/>
                </a:lnTo>
                <a:lnTo>
                  <a:pt x="3666" y="152"/>
                </a:lnTo>
                <a:lnTo>
                  <a:pt x="3668" y="153"/>
                </a:lnTo>
                <a:lnTo>
                  <a:pt x="3671" y="154"/>
                </a:lnTo>
                <a:lnTo>
                  <a:pt x="3674" y="156"/>
                </a:lnTo>
                <a:lnTo>
                  <a:pt x="3676" y="158"/>
                </a:lnTo>
                <a:lnTo>
                  <a:pt x="3678" y="159"/>
                </a:lnTo>
                <a:lnTo>
                  <a:pt x="3679" y="160"/>
                </a:lnTo>
                <a:lnTo>
                  <a:pt x="3681" y="161"/>
                </a:lnTo>
                <a:lnTo>
                  <a:pt x="3682" y="163"/>
                </a:lnTo>
                <a:lnTo>
                  <a:pt x="3684" y="165"/>
                </a:lnTo>
                <a:lnTo>
                  <a:pt x="3688" y="166"/>
                </a:lnTo>
                <a:lnTo>
                  <a:pt x="3691" y="170"/>
                </a:lnTo>
                <a:lnTo>
                  <a:pt x="3700" y="178"/>
                </a:lnTo>
                <a:lnTo>
                  <a:pt x="3708" y="186"/>
                </a:lnTo>
                <a:lnTo>
                  <a:pt x="3711" y="189"/>
                </a:lnTo>
                <a:lnTo>
                  <a:pt x="3713" y="192"/>
                </a:lnTo>
                <a:lnTo>
                  <a:pt x="3714" y="194"/>
                </a:lnTo>
                <a:lnTo>
                  <a:pt x="3717" y="197"/>
                </a:lnTo>
                <a:lnTo>
                  <a:pt x="3718" y="198"/>
                </a:lnTo>
                <a:lnTo>
                  <a:pt x="3719" y="200"/>
                </a:lnTo>
                <a:lnTo>
                  <a:pt x="3720" y="203"/>
                </a:lnTo>
                <a:lnTo>
                  <a:pt x="3722" y="204"/>
                </a:lnTo>
                <a:lnTo>
                  <a:pt x="3723" y="206"/>
                </a:lnTo>
                <a:lnTo>
                  <a:pt x="3724" y="209"/>
                </a:lnTo>
                <a:lnTo>
                  <a:pt x="3725" y="211"/>
                </a:lnTo>
                <a:lnTo>
                  <a:pt x="3728" y="215"/>
                </a:lnTo>
                <a:lnTo>
                  <a:pt x="3729" y="217"/>
                </a:lnTo>
                <a:lnTo>
                  <a:pt x="3730" y="220"/>
                </a:lnTo>
                <a:lnTo>
                  <a:pt x="3731" y="222"/>
                </a:lnTo>
                <a:lnTo>
                  <a:pt x="3732" y="224"/>
                </a:lnTo>
                <a:lnTo>
                  <a:pt x="3734" y="226"/>
                </a:lnTo>
                <a:lnTo>
                  <a:pt x="3736" y="231"/>
                </a:lnTo>
                <a:lnTo>
                  <a:pt x="3736" y="233"/>
                </a:lnTo>
                <a:lnTo>
                  <a:pt x="3737" y="236"/>
                </a:lnTo>
                <a:lnTo>
                  <a:pt x="3739" y="237"/>
                </a:lnTo>
                <a:lnTo>
                  <a:pt x="3739" y="239"/>
                </a:lnTo>
                <a:lnTo>
                  <a:pt x="3740" y="241"/>
                </a:lnTo>
                <a:lnTo>
                  <a:pt x="3741" y="244"/>
                </a:lnTo>
                <a:lnTo>
                  <a:pt x="3741" y="246"/>
                </a:lnTo>
                <a:lnTo>
                  <a:pt x="3742" y="249"/>
                </a:lnTo>
                <a:lnTo>
                  <a:pt x="3743" y="253"/>
                </a:lnTo>
                <a:lnTo>
                  <a:pt x="3747" y="261"/>
                </a:lnTo>
                <a:lnTo>
                  <a:pt x="3747" y="263"/>
                </a:lnTo>
                <a:lnTo>
                  <a:pt x="3748" y="265"/>
                </a:lnTo>
                <a:lnTo>
                  <a:pt x="3749" y="269"/>
                </a:lnTo>
                <a:lnTo>
                  <a:pt x="3751" y="272"/>
                </a:lnTo>
                <a:lnTo>
                  <a:pt x="3751" y="275"/>
                </a:lnTo>
                <a:lnTo>
                  <a:pt x="3753" y="282"/>
                </a:lnTo>
                <a:lnTo>
                  <a:pt x="3754" y="289"/>
                </a:lnTo>
                <a:lnTo>
                  <a:pt x="3754" y="293"/>
                </a:lnTo>
                <a:lnTo>
                  <a:pt x="3755" y="296"/>
                </a:lnTo>
                <a:lnTo>
                  <a:pt x="3755" y="298"/>
                </a:lnTo>
                <a:lnTo>
                  <a:pt x="3757" y="302"/>
                </a:lnTo>
                <a:lnTo>
                  <a:pt x="3757" y="305"/>
                </a:lnTo>
                <a:lnTo>
                  <a:pt x="3758" y="309"/>
                </a:lnTo>
                <a:lnTo>
                  <a:pt x="3759" y="314"/>
                </a:lnTo>
                <a:lnTo>
                  <a:pt x="3759" y="319"/>
                </a:lnTo>
                <a:lnTo>
                  <a:pt x="3760" y="324"/>
                </a:lnTo>
                <a:lnTo>
                  <a:pt x="3760" y="329"/>
                </a:lnTo>
                <a:lnTo>
                  <a:pt x="3761" y="333"/>
                </a:lnTo>
                <a:lnTo>
                  <a:pt x="3761" y="339"/>
                </a:lnTo>
                <a:lnTo>
                  <a:pt x="3763" y="344"/>
                </a:lnTo>
                <a:lnTo>
                  <a:pt x="3763" y="350"/>
                </a:lnTo>
                <a:lnTo>
                  <a:pt x="3764" y="360"/>
                </a:lnTo>
                <a:lnTo>
                  <a:pt x="3765" y="388"/>
                </a:lnTo>
                <a:lnTo>
                  <a:pt x="3765" y="392"/>
                </a:lnTo>
                <a:lnTo>
                  <a:pt x="3765" y="396"/>
                </a:lnTo>
                <a:lnTo>
                  <a:pt x="3765" y="404"/>
                </a:lnTo>
                <a:lnTo>
                  <a:pt x="3765" y="433"/>
                </a:lnTo>
                <a:lnTo>
                  <a:pt x="3765" y="532"/>
                </a:lnTo>
                <a:close/>
                <a:moveTo>
                  <a:pt x="1993" y="793"/>
                </a:moveTo>
                <a:lnTo>
                  <a:pt x="1993" y="390"/>
                </a:lnTo>
                <a:lnTo>
                  <a:pt x="1993" y="308"/>
                </a:lnTo>
                <a:lnTo>
                  <a:pt x="1993" y="289"/>
                </a:lnTo>
                <a:lnTo>
                  <a:pt x="1993" y="285"/>
                </a:lnTo>
                <a:lnTo>
                  <a:pt x="1992" y="281"/>
                </a:lnTo>
                <a:lnTo>
                  <a:pt x="1992" y="277"/>
                </a:lnTo>
                <a:lnTo>
                  <a:pt x="1991" y="274"/>
                </a:lnTo>
                <a:lnTo>
                  <a:pt x="1990" y="270"/>
                </a:lnTo>
                <a:lnTo>
                  <a:pt x="1988" y="269"/>
                </a:lnTo>
                <a:lnTo>
                  <a:pt x="1987" y="267"/>
                </a:lnTo>
                <a:lnTo>
                  <a:pt x="1985" y="264"/>
                </a:lnTo>
                <a:lnTo>
                  <a:pt x="1983" y="263"/>
                </a:lnTo>
                <a:lnTo>
                  <a:pt x="1981" y="263"/>
                </a:lnTo>
                <a:lnTo>
                  <a:pt x="1979" y="261"/>
                </a:lnTo>
                <a:lnTo>
                  <a:pt x="1968" y="259"/>
                </a:lnTo>
                <a:lnTo>
                  <a:pt x="1957" y="259"/>
                </a:lnTo>
                <a:lnTo>
                  <a:pt x="1950" y="261"/>
                </a:lnTo>
                <a:lnTo>
                  <a:pt x="1933" y="267"/>
                </a:lnTo>
                <a:lnTo>
                  <a:pt x="1932" y="269"/>
                </a:lnTo>
                <a:lnTo>
                  <a:pt x="1929" y="270"/>
                </a:lnTo>
                <a:lnTo>
                  <a:pt x="1927" y="272"/>
                </a:lnTo>
                <a:lnTo>
                  <a:pt x="1924" y="274"/>
                </a:lnTo>
                <a:lnTo>
                  <a:pt x="1924" y="379"/>
                </a:lnTo>
                <a:lnTo>
                  <a:pt x="1924" y="793"/>
                </a:lnTo>
                <a:lnTo>
                  <a:pt x="1737" y="793"/>
                </a:lnTo>
                <a:lnTo>
                  <a:pt x="1736" y="790"/>
                </a:lnTo>
                <a:lnTo>
                  <a:pt x="1736" y="785"/>
                </a:lnTo>
                <a:lnTo>
                  <a:pt x="1736" y="775"/>
                </a:lnTo>
                <a:lnTo>
                  <a:pt x="1736" y="736"/>
                </a:lnTo>
                <a:lnTo>
                  <a:pt x="1736" y="601"/>
                </a:lnTo>
                <a:lnTo>
                  <a:pt x="1736" y="143"/>
                </a:lnTo>
                <a:lnTo>
                  <a:pt x="1739" y="142"/>
                </a:lnTo>
                <a:lnTo>
                  <a:pt x="1744" y="142"/>
                </a:lnTo>
                <a:lnTo>
                  <a:pt x="1753" y="142"/>
                </a:lnTo>
                <a:lnTo>
                  <a:pt x="1790" y="142"/>
                </a:lnTo>
                <a:lnTo>
                  <a:pt x="1915" y="142"/>
                </a:lnTo>
                <a:lnTo>
                  <a:pt x="1924" y="186"/>
                </a:lnTo>
                <a:lnTo>
                  <a:pt x="1927" y="183"/>
                </a:lnTo>
                <a:lnTo>
                  <a:pt x="1930" y="181"/>
                </a:lnTo>
                <a:lnTo>
                  <a:pt x="1934" y="178"/>
                </a:lnTo>
                <a:lnTo>
                  <a:pt x="1938" y="176"/>
                </a:lnTo>
                <a:lnTo>
                  <a:pt x="1940" y="174"/>
                </a:lnTo>
                <a:lnTo>
                  <a:pt x="1942" y="171"/>
                </a:lnTo>
                <a:lnTo>
                  <a:pt x="1945" y="170"/>
                </a:lnTo>
                <a:lnTo>
                  <a:pt x="1946" y="169"/>
                </a:lnTo>
                <a:lnTo>
                  <a:pt x="1948" y="167"/>
                </a:lnTo>
                <a:lnTo>
                  <a:pt x="1950" y="166"/>
                </a:lnTo>
                <a:lnTo>
                  <a:pt x="1951" y="165"/>
                </a:lnTo>
                <a:lnTo>
                  <a:pt x="1953" y="164"/>
                </a:lnTo>
                <a:lnTo>
                  <a:pt x="1954" y="164"/>
                </a:lnTo>
                <a:lnTo>
                  <a:pt x="1956" y="161"/>
                </a:lnTo>
                <a:lnTo>
                  <a:pt x="1958" y="160"/>
                </a:lnTo>
                <a:lnTo>
                  <a:pt x="1959" y="159"/>
                </a:lnTo>
                <a:lnTo>
                  <a:pt x="1962" y="158"/>
                </a:lnTo>
                <a:lnTo>
                  <a:pt x="1963" y="156"/>
                </a:lnTo>
                <a:lnTo>
                  <a:pt x="1965" y="156"/>
                </a:lnTo>
                <a:lnTo>
                  <a:pt x="1969" y="154"/>
                </a:lnTo>
                <a:lnTo>
                  <a:pt x="1970" y="153"/>
                </a:lnTo>
                <a:lnTo>
                  <a:pt x="1971" y="152"/>
                </a:lnTo>
                <a:lnTo>
                  <a:pt x="1974" y="150"/>
                </a:lnTo>
                <a:lnTo>
                  <a:pt x="1976" y="150"/>
                </a:lnTo>
                <a:lnTo>
                  <a:pt x="1999" y="138"/>
                </a:lnTo>
                <a:lnTo>
                  <a:pt x="2005" y="137"/>
                </a:lnTo>
                <a:lnTo>
                  <a:pt x="2006" y="136"/>
                </a:lnTo>
                <a:lnTo>
                  <a:pt x="2009" y="136"/>
                </a:lnTo>
                <a:lnTo>
                  <a:pt x="2010" y="136"/>
                </a:lnTo>
                <a:lnTo>
                  <a:pt x="2012" y="134"/>
                </a:lnTo>
                <a:lnTo>
                  <a:pt x="2014" y="134"/>
                </a:lnTo>
                <a:lnTo>
                  <a:pt x="2017" y="133"/>
                </a:lnTo>
                <a:lnTo>
                  <a:pt x="2026" y="131"/>
                </a:lnTo>
                <a:lnTo>
                  <a:pt x="2032" y="130"/>
                </a:lnTo>
                <a:lnTo>
                  <a:pt x="2040" y="128"/>
                </a:lnTo>
                <a:lnTo>
                  <a:pt x="2051" y="127"/>
                </a:lnTo>
                <a:lnTo>
                  <a:pt x="2062" y="128"/>
                </a:lnTo>
                <a:lnTo>
                  <a:pt x="2071" y="130"/>
                </a:lnTo>
                <a:lnTo>
                  <a:pt x="2079" y="130"/>
                </a:lnTo>
                <a:lnTo>
                  <a:pt x="2096" y="133"/>
                </a:lnTo>
                <a:lnTo>
                  <a:pt x="2097" y="134"/>
                </a:lnTo>
                <a:lnTo>
                  <a:pt x="2100" y="134"/>
                </a:lnTo>
                <a:lnTo>
                  <a:pt x="2101" y="136"/>
                </a:lnTo>
                <a:lnTo>
                  <a:pt x="2108" y="137"/>
                </a:lnTo>
                <a:lnTo>
                  <a:pt x="2112" y="139"/>
                </a:lnTo>
                <a:lnTo>
                  <a:pt x="2115" y="141"/>
                </a:lnTo>
                <a:lnTo>
                  <a:pt x="2120" y="143"/>
                </a:lnTo>
                <a:lnTo>
                  <a:pt x="2122" y="145"/>
                </a:lnTo>
                <a:lnTo>
                  <a:pt x="2125" y="147"/>
                </a:lnTo>
                <a:lnTo>
                  <a:pt x="2126" y="148"/>
                </a:lnTo>
                <a:lnTo>
                  <a:pt x="2129" y="149"/>
                </a:lnTo>
                <a:lnTo>
                  <a:pt x="2130" y="150"/>
                </a:lnTo>
                <a:lnTo>
                  <a:pt x="2131" y="152"/>
                </a:lnTo>
                <a:lnTo>
                  <a:pt x="2133" y="154"/>
                </a:lnTo>
                <a:lnTo>
                  <a:pt x="2139" y="159"/>
                </a:lnTo>
                <a:lnTo>
                  <a:pt x="2147" y="165"/>
                </a:lnTo>
                <a:lnTo>
                  <a:pt x="2149" y="169"/>
                </a:lnTo>
                <a:lnTo>
                  <a:pt x="2149" y="170"/>
                </a:lnTo>
                <a:lnTo>
                  <a:pt x="2150" y="172"/>
                </a:lnTo>
                <a:lnTo>
                  <a:pt x="2153" y="174"/>
                </a:lnTo>
                <a:lnTo>
                  <a:pt x="2154" y="175"/>
                </a:lnTo>
                <a:lnTo>
                  <a:pt x="2155" y="177"/>
                </a:lnTo>
                <a:lnTo>
                  <a:pt x="2155" y="178"/>
                </a:lnTo>
                <a:lnTo>
                  <a:pt x="2156" y="181"/>
                </a:lnTo>
                <a:lnTo>
                  <a:pt x="2158" y="182"/>
                </a:lnTo>
                <a:lnTo>
                  <a:pt x="2159" y="185"/>
                </a:lnTo>
                <a:lnTo>
                  <a:pt x="2160" y="187"/>
                </a:lnTo>
                <a:lnTo>
                  <a:pt x="2162" y="192"/>
                </a:lnTo>
                <a:lnTo>
                  <a:pt x="2164" y="195"/>
                </a:lnTo>
                <a:lnTo>
                  <a:pt x="2165" y="197"/>
                </a:lnTo>
                <a:lnTo>
                  <a:pt x="2166" y="199"/>
                </a:lnTo>
                <a:lnTo>
                  <a:pt x="2167" y="203"/>
                </a:lnTo>
                <a:lnTo>
                  <a:pt x="2168" y="206"/>
                </a:lnTo>
                <a:lnTo>
                  <a:pt x="2168" y="208"/>
                </a:lnTo>
                <a:lnTo>
                  <a:pt x="2170" y="209"/>
                </a:lnTo>
                <a:lnTo>
                  <a:pt x="2170" y="211"/>
                </a:lnTo>
                <a:lnTo>
                  <a:pt x="2171" y="215"/>
                </a:lnTo>
                <a:lnTo>
                  <a:pt x="2173" y="225"/>
                </a:lnTo>
                <a:lnTo>
                  <a:pt x="2176" y="235"/>
                </a:lnTo>
                <a:lnTo>
                  <a:pt x="2176" y="238"/>
                </a:lnTo>
                <a:lnTo>
                  <a:pt x="2178" y="249"/>
                </a:lnTo>
                <a:lnTo>
                  <a:pt x="2178" y="254"/>
                </a:lnTo>
                <a:lnTo>
                  <a:pt x="2179" y="259"/>
                </a:lnTo>
                <a:lnTo>
                  <a:pt x="2179" y="266"/>
                </a:lnTo>
                <a:lnTo>
                  <a:pt x="2181" y="288"/>
                </a:lnTo>
                <a:lnTo>
                  <a:pt x="2182" y="320"/>
                </a:lnTo>
                <a:lnTo>
                  <a:pt x="2182" y="385"/>
                </a:lnTo>
                <a:lnTo>
                  <a:pt x="2182" y="793"/>
                </a:lnTo>
                <a:lnTo>
                  <a:pt x="2177" y="793"/>
                </a:lnTo>
                <a:lnTo>
                  <a:pt x="2173" y="793"/>
                </a:lnTo>
                <a:lnTo>
                  <a:pt x="2164" y="793"/>
                </a:lnTo>
                <a:lnTo>
                  <a:pt x="2125" y="793"/>
                </a:lnTo>
                <a:lnTo>
                  <a:pt x="1993" y="793"/>
                </a:lnTo>
                <a:close/>
                <a:moveTo>
                  <a:pt x="1512" y="793"/>
                </a:moveTo>
                <a:lnTo>
                  <a:pt x="1501" y="757"/>
                </a:lnTo>
                <a:lnTo>
                  <a:pt x="1496" y="761"/>
                </a:lnTo>
                <a:lnTo>
                  <a:pt x="1493" y="765"/>
                </a:lnTo>
                <a:lnTo>
                  <a:pt x="1492" y="765"/>
                </a:lnTo>
                <a:lnTo>
                  <a:pt x="1488" y="769"/>
                </a:lnTo>
                <a:lnTo>
                  <a:pt x="1485" y="772"/>
                </a:lnTo>
                <a:lnTo>
                  <a:pt x="1483" y="773"/>
                </a:lnTo>
                <a:lnTo>
                  <a:pt x="1482" y="774"/>
                </a:lnTo>
                <a:lnTo>
                  <a:pt x="1481" y="775"/>
                </a:lnTo>
                <a:lnTo>
                  <a:pt x="1478" y="776"/>
                </a:lnTo>
                <a:lnTo>
                  <a:pt x="1477" y="778"/>
                </a:lnTo>
                <a:lnTo>
                  <a:pt x="1476" y="779"/>
                </a:lnTo>
                <a:lnTo>
                  <a:pt x="1473" y="780"/>
                </a:lnTo>
                <a:lnTo>
                  <a:pt x="1472" y="781"/>
                </a:lnTo>
                <a:lnTo>
                  <a:pt x="1470" y="781"/>
                </a:lnTo>
                <a:lnTo>
                  <a:pt x="1467" y="782"/>
                </a:lnTo>
                <a:lnTo>
                  <a:pt x="1465" y="784"/>
                </a:lnTo>
                <a:lnTo>
                  <a:pt x="1463" y="785"/>
                </a:lnTo>
                <a:lnTo>
                  <a:pt x="1461" y="786"/>
                </a:lnTo>
                <a:lnTo>
                  <a:pt x="1459" y="787"/>
                </a:lnTo>
                <a:lnTo>
                  <a:pt x="1454" y="790"/>
                </a:lnTo>
                <a:lnTo>
                  <a:pt x="1452" y="791"/>
                </a:lnTo>
                <a:lnTo>
                  <a:pt x="1449" y="792"/>
                </a:lnTo>
                <a:lnTo>
                  <a:pt x="1444" y="793"/>
                </a:lnTo>
                <a:lnTo>
                  <a:pt x="1443" y="795"/>
                </a:lnTo>
                <a:lnTo>
                  <a:pt x="1441" y="795"/>
                </a:lnTo>
                <a:lnTo>
                  <a:pt x="1440" y="795"/>
                </a:lnTo>
                <a:lnTo>
                  <a:pt x="1437" y="796"/>
                </a:lnTo>
                <a:lnTo>
                  <a:pt x="1436" y="796"/>
                </a:lnTo>
                <a:lnTo>
                  <a:pt x="1434" y="797"/>
                </a:lnTo>
                <a:lnTo>
                  <a:pt x="1432" y="797"/>
                </a:lnTo>
                <a:lnTo>
                  <a:pt x="1430" y="798"/>
                </a:lnTo>
                <a:lnTo>
                  <a:pt x="1426" y="798"/>
                </a:lnTo>
                <a:lnTo>
                  <a:pt x="1418" y="801"/>
                </a:lnTo>
                <a:lnTo>
                  <a:pt x="1396" y="803"/>
                </a:lnTo>
                <a:lnTo>
                  <a:pt x="1378" y="803"/>
                </a:lnTo>
                <a:lnTo>
                  <a:pt x="1361" y="802"/>
                </a:lnTo>
                <a:lnTo>
                  <a:pt x="1345" y="800"/>
                </a:lnTo>
                <a:lnTo>
                  <a:pt x="1339" y="798"/>
                </a:lnTo>
                <a:lnTo>
                  <a:pt x="1332" y="796"/>
                </a:lnTo>
                <a:lnTo>
                  <a:pt x="1330" y="796"/>
                </a:lnTo>
                <a:lnTo>
                  <a:pt x="1325" y="795"/>
                </a:lnTo>
                <a:lnTo>
                  <a:pt x="1322" y="793"/>
                </a:lnTo>
                <a:lnTo>
                  <a:pt x="1320" y="792"/>
                </a:lnTo>
                <a:lnTo>
                  <a:pt x="1316" y="791"/>
                </a:lnTo>
                <a:lnTo>
                  <a:pt x="1315" y="790"/>
                </a:lnTo>
                <a:lnTo>
                  <a:pt x="1310" y="787"/>
                </a:lnTo>
                <a:lnTo>
                  <a:pt x="1308" y="785"/>
                </a:lnTo>
                <a:lnTo>
                  <a:pt x="1305" y="784"/>
                </a:lnTo>
                <a:lnTo>
                  <a:pt x="1304" y="782"/>
                </a:lnTo>
                <a:lnTo>
                  <a:pt x="1303" y="781"/>
                </a:lnTo>
                <a:lnTo>
                  <a:pt x="1301" y="780"/>
                </a:lnTo>
                <a:lnTo>
                  <a:pt x="1297" y="776"/>
                </a:lnTo>
                <a:lnTo>
                  <a:pt x="1293" y="774"/>
                </a:lnTo>
                <a:lnTo>
                  <a:pt x="1288" y="769"/>
                </a:lnTo>
                <a:lnTo>
                  <a:pt x="1287" y="767"/>
                </a:lnTo>
                <a:lnTo>
                  <a:pt x="1285" y="765"/>
                </a:lnTo>
                <a:lnTo>
                  <a:pt x="1284" y="763"/>
                </a:lnTo>
                <a:lnTo>
                  <a:pt x="1281" y="761"/>
                </a:lnTo>
                <a:lnTo>
                  <a:pt x="1280" y="758"/>
                </a:lnTo>
                <a:lnTo>
                  <a:pt x="1280" y="757"/>
                </a:lnTo>
                <a:lnTo>
                  <a:pt x="1279" y="754"/>
                </a:lnTo>
                <a:lnTo>
                  <a:pt x="1276" y="752"/>
                </a:lnTo>
                <a:lnTo>
                  <a:pt x="1275" y="750"/>
                </a:lnTo>
                <a:lnTo>
                  <a:pt x="1274" y="747"/>
                </a:lnTo>
                <a:lnTo>
                  <a:pt x="1273" y="745"/>
                </a:lnTo>
                <a:lnTo>
                  <a:pt x="1273" y="742"/>
                </a:lnTo>
                <a:lnTo>
                  <a:pt x="1270" y="739"/>
                </a:lnTo>
                <a:lnTo>
                  <a:pt x="1270" y="737"/>
                </a:lnTo>
                <a:lnTo>
                  <a:pt x="1269" y="735"/>
                </a:lnTo>
                <a:lnTo>
                  <a:pt x="1267" y="730"/>
                </a:lnTo>
                <a:lnTo>
                  <a:pt x="1264" y="723"/>
                </a:lnTo>
                <a:lnTo>
                  <a:pt x="1264" y="721"/>
                </a:lnTo>
                <a:lnTo>
                  <a:pt x="1263" y="719"/>
                </a:lnTo>
                <a:lnTo>
                  <a:pt x="1262" y="713"/>
                </a:lnTo>
                <a:lnTo>
                  <a:pt x="1261" y="709"/>
                </a:lnTo>
                <a:lnTo>
                  <a:pt x="1261" y="707"/>
                </a:lnTo>
                <a:lnTo>
                  <a:pt x="1259" y="704"/>
                </a:lnTo>
                <a:lnTo>
                  <a:pt x="1259" y="702"/>
                </a:lnTo>
                <a:lnTo>
                  <a:pt x="1258" y="698"/>
                </a:lnTo>
                <a:lnTo>
                  <a:pt x="1258" y="696"/>
                </a:lnTo>
                <a:lnTo>
                  <a:pt x="1258" y="692"/>
                </a:lnTo>
                <a:lnTo>
                  <a:pt x="1257" y="689"/>
                </a:lnTo>
                <a:lnTo>
                  <a:pt x="1257" y="684"/>
                </a:lnTo>
                <a:lnTo>
                  <a:pt x="1256" y="679"/>
                </a:lnTo>
                <a:lnTo>
                  <a:pt x="1256" y="674"/>
                </a:lnTo>
                <a:lnTo>
                  <a:pt x="1255" y="667"/>
                </a:lnTo>
                <a:lnTo>
                  <a:pt x="1255" y="657"/>
                </a:lnTo>
                <a:lnTo>
                  <a:pt x="1253" y="638"/>
                </a:lnTo>
                <a:lnTo>
                  <a:pt x="1253" y="635"/>
                </a:lnTo>
                <a:lnTo>
                  <a:pt x="1253" y="631"/>
                </a:lnTo>
                <a:lnTo>
                  <a:pt x="1253" y="623"/>
                </a:lnTo>
                <a:lnTo>
                  <a:pt x="1253" y="591"/>
                </a:lnTo>
                <a:lnTo>
                  <a:pt x="1253" y="565"/>
                </a:lnTo>
                <a:lnTo>
                  <a:pt x="1253" y="540"/>
                </a:lnTo>
                <a:lnTo>
                  <a:pt x="1253" y="527"/>
                </a:lnTo>
                <a:lnTo>
                  <a:pt x="1256" y="515"/>
                </a:lnTo>
                <a:lnTo>
                  <a:pt x="1257" y="505"/>
                </a:lnTo>
                <a:lnTo>
                  <a:pt x="1261" y="496"/>
                </a:lnTo>
                <a:lnTo>
                  <a:pt x="1261" y="493"/>
                </a:lnTo>
                <a:lnTo>
                  <a:pt x="1261" y="492"/>
                </a:lnTo>
                <a:lnTo>
                  <a:pt x="1262" y="490"/>
                </a:lnTo>
                <a:lnTo>
                  <a:pt x="1262" y="488"/>
                </a:lnTo>
                <a:lnTo>
                  <a:pt x="1263" y="486"/>
                </a:lnTo>
                <a:lnTo>
                  <a:pt x="1264" y="482"/>
                </a:lnTo>
                <a:lnTo>
                  <a:pt x="1266" y="480"/>
                </a:lnTo>
                <a:lnTo>
                  <a:pt x="1269" y="474"/>
                </a:lnTo>
                <a:lnTo>
                  <a:pt x="1270" y="473"/>
                </a:lnTo>
                <a:lnTo>
                  <a:pt x="1272" y="470"/>
                </a:lnTo>
                <a:lnTo>
                  <a:pt x="1273" y="468"/>
                </a:lnTo>
                <a:lnTo>
                  <a:pt x="1273" y="465"/>
                </a:lnTo>
                <a:lnTo>
                  <a:pt x="1274" y="464"/>
                </a:lnTo>
                <a:lnTo>
                  <a:pt x="1276" y="460"/>
                </a:lnTo>
                <a:lnTo>
                  <a:pt x="1278" y="459"/>
                </a:lnTo>
                <a:lnTo>
                  <a:pt x="1279" y="458"/>
                </a:lnTo>
                <a:lnTo>
                  <a:pt x="1280" y="457"/>
                </a:lnTo>
                <a:lnTo>
                  <a:pt x="1281" y="454"/>
                </a:lnTo>
                <a:lnTo>
                  <a:pt x="1282" y="453"/>
                </a:lnTo>
                <a:lnTo>
                  <a:pt x="1285" y="451"/>
                </a:lnTo>
                <a:lnTo>
                  <a:pt x="1288" y="446"/>
                </a:lnTo>
                <a:lnTo>
                  <a:pt x="1295" y="440"/>
                </a:lnTo>
                <a:lnTo>
                  <a:pt x="1301" y="433"/>
                </a:lnTo>
                <a:lnTo>
                  <a:pt x="1304" y="430"/>
                </a:lnTo>
                <a:lnTo>
                  <a:pt x="1308" y="427"/>
                </a:lnTo>
                <a:lnTo>
                  <a:pt x="1310" y="425"/>
                </a:lnTo>
                <a:lnTo>
                  <a:pt x="1313" y="422"/>
                </a:lnTo>
                <a:lnTo>
                  <a:pt x="1315" y="421"/>
                </a:lnTo>
                <a:lnTo>
                  <a:pt x="1316" y="420"/>
                </a:lnTo>
                <a:lnTo>
                  <a:pt x="1319" y="419"/>
                </a:lnTo>
                <a:lnTo>
                  <a:pt x="1320" y="418"/>
                </a:lnTo>
                <a:lnTo>
                  <a:pt x="1322" y="416"/>
                </a:lnTo>
                <a:lnTo>
                  <a:pt x="1324" y="415"/>
                </a:lnTo>
                <a:lnTo>
                  <a:pt x="1326" y="414"/>
                </a:lnTo>
                <a:lnTo>
                  <a:pt x="1328" y="414"/>
                </a:lnTo>
                <a:lnTo>
                  <a:pt x="1330" y="413"/>
                </a:lnTo>
                <a:lnTo>
                  <a:pt x="1331" y="410"/>
                </a:lnTo>
                <a:lnTo>
                  <a:pt x="1334" y="409"/>
                </a:lnTo>
                <a:lnTo>
                  <a:pt x="1337" y="408"/>
                </a:lnTo>
                <a:lnTo>
                  <a:pt x="1339" y="407"/>
                </a:lnTo>
                <a:lnTo>
                  <a:pt x="1342" y="405"/>
                </a:lnTo>
                <a:lnTo>
                  <a:pt x="1344" y="404"/>
                </a:lnTo>
                <a:lnTo>
                  <a:pt x="1345" y="403"/>
                </a:lnTo>
                <a:lnTo>
                  <a:pt x="1348" y="402"/>
                </a:lnTo>
                <a:lnTo>
                  <a:pt x="1351" y="401"/>
                </a:lnTo>
                <a:lnTo>
                  <a:pt x="1355" y="399"/>
                </a:lnTo>
                <a:lnTo>
                  <a:pt x="1359" y="398"/>
                </a:lnTo>
                <a:lnTo>
                  <a:pt x="1360" y="397"/>
                </a:lnTo>
                <a:lnTo>
                  <a:pt x="1362" y="396"/>
                </a:lnTo>
                <a:lnTo>
                  <a:pt x="1365" y="394"/>
                </a:lnTo>
                <a:lnTo>
                  <a:pt x="1367" y="394"/>
                </a:lnTo>
                <a:lnTo>
                  <a:pt x="1368" y="393"/>
                </a:lnTo>
                <a:lnTo>
                  <a:pt x="1373" y="392"/>
                </a:lnTo>
                <a:lnTo>
                  <a:pt x="1376" y="391"/>
                </a:lnTo>
                <a:lnTo>
                  <a:pt x="1378" y="390"/>
                </a:lnTo>
                <a:lnTo>
                  <a:pt x="1379" y="390"/>
                </a:lnTo>
                <a:lnTo>
                  <a:pt x="1382" y="388"/>
                </a:lnTo>
                <a:lnTo>
                  <a:pt x="1383" y="388"/>
                </a:lnTo>
                <a:lnTo>
                  <a:pt x="1385" y="387"/>
                </a:lnTo>
                <a:lnTo>
                  <a:pt x="1386" y="387"/>
                </a:lnTo>
                <a:lnTo>
                  <a:pt x="1389" y="386"/>
                </a:lnTo>
                <a:lnTo>
                  <a:pt x="1390" y="386"/>
                </a:lnTo>
                <a:lnTo>
                  <a:pt x="1391" y="385"/>
                </a:lnTo>
                <a:lnTo>
                  <a:pt x="1396" y="385"/>
                </a:lnTo>
                <a:lnTo>
                  <a:pt x="1403" y="382"/>
                </a:lnTo>
                <a:lnTo>
                  <a:pt x="1408" y="381"/>
                </a:lnTo>
                <a:lnTo>
                  <a:pt x="1411" y="380"/>
                </a:lnTo>
                <a:lnTo>
                  <a:pt x="1413" y="380"/>
                </a:lnTo>
                <a:lnTo>
                  <a:pt x="1415" y="379"/>
                </a:lnTo>
                <a:lnTo>
                  <a:pt x="1418" y="379"/>
                </a:lnTo>
                <a:lnTo>
                  <a:pt x="1423" y="377"/>
                </a:lnTo>
                <a:lnTo>
                  <a:pt x="1426" y="376"/>
                </a:lnTo>
                <a:lnTo>
                  <a:pt x="1431" y="375"/>
                </a:lnTo>
                <a:lnTo>
                  <a:pt x="1435" y="375"/>
                </a:lnTo>
                <a:lnTo>
                  <a:pt x="1441" y="374"/>
                </a:lnTo>
                <a:lnTo>
                  <a:pt x="1446" y="372"/>
                </a:lnTo>
                <a:lnTo>
                  <a:pt x="1452" y="371"/>
                </a:lnTo>
                <a:lnTo>
                  <a:pt x="1458" y="370"/>
                </a:lnTo>
                <a:lnTo>
                  <a:pt x="1461" y="370"/>
                </a:lnTo>
                <a:lnTo>
                  <a:pt x="1466" y="370"/>
                </a:lnTo>
                <a:lnTo>
                  <a:pt x="1471" y="369"/>
                </a:lnTo>
                <a:lnTo>
                  <a:pt x="1476" y="369"/>
                </a:lnTo>
                <a:lnTo>
                  <a:pt x="1479" y="368"/>
                </a:lnTo>
                <a:lnTo>
                  <a:pt x="1485" y="368"/>
                </a:lnTo>
                <a:lnTo>
                  <a:pt x="1496" y="365"/>
                </a:lnTo>
                <a:lnTo>
                  <a:pt x="1496" y="333"/>
                </a:lnTo>
                <a:lnTo>
                  <a:pt x="1496" y="324"/>
                </a:lnTo>
                <a:lnTo>
                  <a:pt x="1496" y="320"/>
                </a:lnTo>
                <a:lnTo>
                  <a:pt x="1496" y="316"/>
                </a:lnTo>
                <a:lnTo>
                  <a:pt x="1496" y="311"/>
                </a:lnTo>
                <a:lnTo>
                  <a:pt x="1495" y="308"/>
                </a:lnTo>
                <a:lnTo>
                  <a:pt x="1495" y="305"/>
                </a:lnTo>
                <a:lnTo>
                  <a:pt x="1494" y="303"/>
                </a:lnTo>
                <a:lnTo>
                  <a:pt x="1494" y="302"/>
                </a:lnTo>
                <a:lnTo>
                  <a:pt x="1492" y="298"/>
                </a:lnTo>
                <a:lnTo>
                  <a:pt x="1490" y="296"/>
                </a:lnTo>
                <a:lnTo>
                  <a:pt x="1490" y="294"/>
                </a:lnTo>
                <a:lnTo>
                  <a:pt x="1487" y="291"/>
                </a:lnTo>
                <a:lnTo>
                  <a:pt x="1484" y="288"/>
                </a:lnTo>
                <a:lnTo>
                  <a:pt x="1477" y="285"/>
                </a:lnTo>
                <a:lnTo>
                  <a:pt x="1470" y="282"/>
                </a:lnTo>
                <a:lnTo>
                  <a:pt x="1461" y="281"/>
                </a:lnTo>
                <a:lnTo>
                  <a:pt x="1453" y="281"/>
                </a:lnTo>
                <a:lnTo>
                  <a:pt x="1435" y="282"/>
                </a:lnTo>
                <a:lnTo>
                  <a:pt x="1418" y="283"/>
                </a:lnTo>
                <a:lnTo>
                  <a:pt x="1408" y="285"/>
                </a:lnTo>
                <a:lnTo>
                  <a:pt x="1401" y="286"/>
                </a:lnTo>
                <a:lnTo>
                  <a:pt x="1396" y="286"/>
                </a:lnTo>
                <a:lnTo>
                  <a:pt x="1392" y="286"/>
                </a:lnTo>
                <a:lnTo>
                  <a:pt x="1389" y="287"/>
                </a:lnTo>
                <a:lnTo>
                  <a:pt x="1386" y="287"/>
                </a:lnTo>
                <a:lnTo>
                  <a:pt x="1383" y="288"/>
                </a:lnTo>
                <a:lnTo>
                  <a:pt x="1379" y="288"/>
                </a:lnTo>
                <a:lnTo>
                  <a:pt x="1373" y="291"/>
                </a:lnTo>
                <a:lnTo>
                  <a:pt x="1366" y="292"/>
                </a:lnTo>
                <a:lnTo>
                  <a:pt x="1362" y="292"/>
                </a:lnTo>
                <a:lnTo>
                  <a:pt x="1360" y="293"/>
                </a:lnTo>
                <a:lnTo>
                  <a:pt x="1357" y="293"/>
                </a:lnTo>
                <a:lnTo>
                  <a:pt x="1350" y="296"/>
                </a:lnTo>
                <a:lnTo>
                  <a:pt x="1348" y="296"/>
                </a:lnTo>
                <a:lnTo>
                  <a:pt x="1345" y="297"/>
                </a:lnTo>
                <a:lnTo>
                  <a:pt x="1343" y="297"/>
                </a:lnTo>
                <a:lnTo>
                  <a:pt x="1340" y="297"/>
                </a:lnTo>
                <a:lnTo>
                  <a:pt x="1338" y="298"/>
                </a:lnTo>
                <a:lnTo>
                  <a:pt x="1337" y="298"/>
                </a:lnTo>
                <a:lnTo>
                  <a:pt x="1330" y="300"/>
                </a:lnTo>
                <a:lnTo>
                  <a:pt x="1324" y="302"/>
                </a:lnTo>
                <a:lnTo>
                  <a:pt x="1319" y="303"/>
                </a:lnTo>
                <a:lnTo>
                  <a:pt x="1317" y="304"/>
                </a:lnTo>
                <a:lnTo>
                  <a:pt x="1311" y="305"/>
                </a:lnTo>
                <a:lnTo>
                  <a:pt x="1309" y="307"/>
                </a:lnTo>
                <a:lnTo>
                  <a:pt x="1273" y="319"/>
                </a:lnTo>
                <a:lnTo>
                  <a:pt x="1269" y="171"/>
                </a:lnTo>
                <a:lnTo>
                  <a:pt x="1274" y="170"/>
                </a:lnTo>
                <a:lnTo>
                  <a:pt x="1279" y="167"/>
                </a:lnTo>
                <a:lnTo>
                  <a:pt x="1282" y="167"/>
                </a:lnTo>
                <a:lnTo>
                  <a:pt x="1284" y="166"/>
                </a:lnTo>
                <a:lnTo>
                  <a:pt x="1286" y="166"/>
                </a:lnTo>
                <a:lnTo>
                  <a:pt x="1287" y="165"/>
                </a:lnTo>
                <a:lnTo>
                  <a:pt x="1293" y="164"/>
                </a:lnTo>
                <a:lnTo>
                  <a:pt x="1295" y="164"/>
                </a:lnTo>
                <a:lnTo>
                  <a:pt x="1297" y="163"/>
                </a:lnTo>
                <a:lnTo>
                  <a:pt x="1299" y="163"/>
                </a:lnTo>
                <a:lnTo>
                  <a:pt x="1301" y="161"/>
                </a:lnTo>
                <a:lnTo>
                  <a:pt x="1303" y="161"/>
                </a:lnTo>
                <a:lnTo>
                  <a:pt x="1320" y="156"/>
                </a:lnTo>
                <a:lnTo>
                  <a:pt x="1337" y="150"/>
                </a:lnTo>
                <a:lnTo>
                  <a:pt x="1344" y="150"/>
                </a:lnTo>
                <a:lnTo>
                  <a:pt x="1359" y="145"/>
                </a:lnTo>
                <a:lnTo>
                  <a:pt x="1366" y="144"/>
                </a:lnTo>
                <a:lnTo>
                  <a:pt x="1373" y="142"/>
                </a:lnTo>
                <a:lnTo>
                  <a:pt x="1382" y="141"/>
                </a:lnTo>
                <a:lnTo>
                  <a:pt x="1388" y="139"/>
                </a:lnTo>
                <a:lnTo>
                  <a:pt x="1395" y="138"/>
                </a:lnTo>
                <a:lnTo>
                  <a:pt x="1401" y="137"/>
                </a:lnTo>
                <a:lnTo>
                  <a:pt x="1407" y="136"/>
                </a:lnTo>
                <a:lnTo>
                  <a:pt x="1414" y="136"/>
                </a:lnTo>
                <a:lnTo>
                  <a:pt x="1421" y="134"/>
                </a:lnTo>
                <a:lnTo>
                  <a:pt x="1426" y="133"/>
                </a:lnTo>
                <a:lnTo>
                  <a:pt x="1432" y="132"/>
                </a:lnTo>
                <a:lnTo>
                  <a:pt x="1438" y="132"/>
                </a:lnTo>
                <a:lnTo>
                  <a:pt x="1444" y="131"/>
                </a:lnTo>
                <a:lnTo>
                  <a:pt x="1449" y="131"/>
                </a:lnTo>
                <a:lnTo>
                  <a:pt x="1456" y="130"/>
                </a:lnTo>
                <a:lnTo>
                  <a:pt x="1475" y="128"/>
                </a:lnTo>
                <a:lnTo>
                  <a:pt x="1479" y="128"/>
                </a:lnTo>
                <a:lnTo>
                  <a:pt x="1485" y="127"/>
                </a:lnTo>
                <a:lnTo>
                  <a:pt x="1498" y="128"/>
                </a:lnTo>
                <a:lnTo>
                  <a:pt x="1504" y="128"/>
                </a:lnTo>
                <a:lnTo>
                  <a:pt x="1508" y="128"/>
                </a:lnTo>
                <a:lnTo>
                  <a:pt x="1515" y="128"/>
                </a:lnTo>
                <a:lnTo>
                  <a:pt x="1519" y="130"/>
                </a:lnTo>
                <a:lnTo>
                  <a:pt x="1528" y="130"/>
                </a:lnTo>
                <a:lnTo>
                  <a:pt x="1534" y="130"/>
                </a:lnTo>
                <a:lnTo>
                  <a:pt x="1539" y="131"/>
                </a:lnTo>
                <a:lnTo>
                  <a:pt x="1544" y="131"/>
                </a:lnTo>
                <a:lnTo>
                  <a:pt x="1548" y="132"/>
                </a:lnTo>
                <a:lnTo>
                  <a:pt x="1562" y="134"/>
                </a:lnTo>
                <a:lnTo>
                  <a:pt x="1564" y="134"/>
                </a:lnTo>
                <a:lnTo>
                  <a:pt x="1571" y="136"/>
                </a:lnTo>
                <a:lnTo>
                  <a:pt x="1577" y="138"/>
                </a:lnTo>
                <a:lnTo>
                  <a:pt x="1580" y="138"/>
                </a:lnTo>
                <a:lnTo>
                  <a:pt x="1582" y="139"/>
                </a:lnTo>
                <a:lnTo>
                  <a:pt x="1583" y="139"/>
                </a:lnTo>
                <a:lnTo>
                  <a:pt x="1586" y="141"/>
                </a:lnTo>
                <a:lnTo>
                  <a:pt x="1587" y="141"/>
                </a:lnTo>
                <a:lnTo>
                  <a:pt x="1591" y="142"/>
                </a:lnTo>
                <a:lnTo>
                  <a:pt x="1593" y="143"/>
                </a:lnTo>
                <a:lnTo>
                  <a:pt x="1597" y="144"/>
                </a:lnTo>
                <a:lnTo>
                  <a:pt x="1599" y="145"/>
                </a:lnTo>
                <a:lnTo>
                  <a:pt x="1602" y="147"/>
                </a:lnTo>
                <a:lnTo>
                  <a:pt x="1604" y="148"/>
                </a:lnTo>
                <a:lnTo>
                  <a:pt x="1606" y="149"/>
                </a:lnTo>
                <a:lnTo>
                  <a:pt x="1611" y="152"/>
                </a:lnTo>
                <a:lnTo>
                  <a:pt x="1616" y="154"/>
                </a:lnTo>
                <a:lnTo>
                  <a:pt x="1618" y="155"/>
                </a:lnTo>
                <a:lnTo>
                  <a:pt x="1621" y="156"/>
                </a:lnTo>
                <a:lnTo>
                  <a:pt x="1623" y="159"/>
                </a:lnTo>
                <a:lnTo>
                  <a:pt x="1624" y="160"/>
                </a:lnTo>
                <a:lnTo>
                  <a:pt x="1626" y="161"/>
                </a:lnTo>
                <a:lnTo>
                  <a:pt x="1628" y="164"/>
                </a:lnTo>
                <a:lnTo>
                  <a:pt x="1631" y="165"/>
                </a:lnTo>
                <a:lnTo>
                  <a:pt x="1633" y="165"/>
                </a:lnTo>
                <a:lnTo>
                  <a:pt x="1635" y="169"/>
                </a:lnTo>
                <a:lnTo>
                  <a:pt x="1641" y="175"/>
                </a:lnTo>
                <a:lnTo>
                  <a:pt x="1646" y="180"/>
                </a:lnTo>
                <a:lnTo>
                  <a:pt x="1650" y="183"/>
                </a:lnTo>
                <a:lnTo>
                  <a:pt x="1651" y="186"/>
                </a:lnTo>
                <a:lnTo>
                  <a:pt x="1654" y="188"/>
                </a:lnTo>
                <a:lnTo>
                  <a:pt x="1655" y="191"/>
                </a:lnTo>
                <a:lnTo>
                  <a:pt x="1656" y="192"/>
                </a:lnTo>
                <a:lnTo>
                  <a:pt x="1657" y="194"/>
                </a:lnTo>
                <a:lnTo>
                  <a:pt x="1658" y="195"/>
                </a:lnTo>
                <a:lnTo>
                  <a:pt x="1660" y="197"/>
                </a:lnTo>
                <a:lnTo>
                  <a:pt x="1661" y="199"/>
                </a:lnTo>
                <a:lnTo>
                  <a:pt x="1662" y="202"/>
                </a:lnTo>
                <a:lnTo>
                  <a:pt x="1663" y="204"/>
                </a:lnTo>
                <a:lnTo>
                  <a:pt x="1664" y="205"/>
                </a:lnTo>
                <a:lnTo>
                  <a:pt x="1664" y="208"/>
                </a:lnTo>
                <a:lnTo>
                  <a:pt x="1667" y="211"/>
                </a:lnTo>
                <a:lnTo>
                  <a:pt x="1667" y="213"/>
                </a:lnTo>
                <a:lnTo>
                  <a:pt x="1669" y="216"/>
                </a:lnTo>
                <a:lnTo>
                  <a:pt x="1669" y="219"/>
                </a:lnTo>
                <a:lnTo>
                  <a:pt x="1672" y="222"/>
                </a:lnTo>
                <a:lnTo>
                  <a:pt x="1672" y="224"/>
                </a:lnTo>
                <a:lnTo>
                  <a:pt x="1680" y="252"/>
                </a:lnTo>
                <a:lnTo>
                  <a:pt x="1685" y="280"/>
                </a:lnTo>
                <a:lnTo>
                  <a:pt x="1687" y="302"/>
                </a:lnTo>
                <a:lnTo>
                  <a:pt x="1687" y="313"/>
                </a:lnTo>
                <a:lnTo>
                  <a:pt x="1687" y="319"/>
                </a:lnTo>
                <a:lnTo>
                  <a:pt x="1687" y="326"/>
                </a:lnTo>
                <a:lnTo>
                  <a:pt x="1687" y="349"/>
                </a:lnTo>
                <a:lnTo>
                  <a:pt x="1687" y="426"/>
                </a:lnTo>
                <a:lnTo>
                  <a:pt x="1687" y="793"/>
                </a:lnTo>
                <a:lnTo>
                  <a:pt x="1684" y="793"/>
                </a:lnTo>
                <a:lnTo>
                  <a:pt x="1680" y="793"/>
                </a:lnTo>
                <a:lnTo>
                  <a:pt x="1670" y="793"/>
                </a:lnTo>
                <a:lnTo>
                  <a:pt x="1634" y="793"/>
                </a:lnTo>
                <a:lnTo>
                  <a:pt x="1512" y="793"/>
                </a:lnTo>
                <a:close/>
                <a:moveTo>
                  <a:pt x="729" y="128"/>
                </a:moveTo>
                <a:lnTo>
                  <a:pt x="745" y="128"/>
                </a:lnTo>
                <a:lnTo>
                  <a:pt x="760" y="128"/>
                </a:lnTo>
                <a:lnTo>
                  <a:pt x="775" y="130"/>
                </a:lnTo>
                <a:lnTo>
                  <a:pt x="789" y="131"/>
                </a:lnTo>
                <a:lnTo>
                  <a:pt x="804" y="133"/>
                </a:lnTo>
                <a:lnTo>
                  <a:pt x="816" y="136"/>
                </a:lnTo>
                <a:lnTo>
                  <a:pt x="828" y="139"/>
                </a:lnTo>
                <a:lnTo>
                  <a:pt x="840" y="144"/>
                </a:lnTo>
                <a:lnTo>
                  <a:pt x="844" y="144"/>
                </a:lnTo>
                <a:lnTo>
                  <a:pt x="846" y="145"/>
                </a:lnTo>
                <a:lnTo>
                  <a:pt x="850" y="147"/>
                </a:lnTo>
                <a:lnTo>
                  <a:pt x="852" y="149"/>
                </a:lnTo>
                <a:lnTo>
                  <a:pt x="856" y="150"/>
                </a:lnTo>
                <a:lnTo>
                  <a:pt x="859" y="152"/>
                </a:lnTo>
                <a:lnTo>
                  <a:pt x="864" y="154"/>
                </a:lnTo>
                <a:lnTo>
                  <a:pt x="865" y="155"/>
                </a:lnTo>
                <a:lnTo>
                  <a:pt x="868" y="156"/>
                </a:lnTo>
                <a:lnTo>
                  <a:pt x="869" y="158"/>
                </a:lnTo>
                <a:lnTo>
                  <a:pt x="871" y="159"/>
                </a:lnTo>
                <a:lnTo>
                  <a:pt x="875" y="160"/>
                </a:lnTo>
                <a:lnTo>
                  <a:pt x="876" y="161"/>
                </a:lnTo>
                <a:lnTo>
                  <a:pt x="879" y="163"/>
                </a:lnTo>
                <a:lnTo>
                  <a:pt x="880" y="164"/>
                </a:lnTo>
                <a:lnTo>
                  <a:pt x="881" y="165"/>
                </a:lnTo>
                <a:lnTo>
                  <a:pt x="882" y="166"/>
                </a:lnTo>
                <a:lnTo>
                  <a:pt x="885" y="167"/>
                </a:lnTo>
                <a:lnTo>
                  <a:pt x="887" y="170"/>
                </a:lnTo>
                <a:lnTo>
                  <a:pt x="890" y="171"/>
                </a:lnTo>
                <a:lnTo>
                  <a:pt x="891" y="172"/>
                </a:lnTo>
                <a:lnTo>
                  <a:pt x="893" y="175"/>
                </a:lnTo>
                <a:lnTo>
                  <a:pt x="898" y="180"/>
                </a:lnTo>
                <a:lnTo>
                  <a:pt x="904" y="185"/>
                </a:lnTo>
                <a:lnTo>
                  <a:pt x="910" y="191"/>
                </a:lnTo>
                <a:lnTo>
                  <a:pt x="911" y="193"/>
                </a:lnTo>
                <a:lnTo>
                  <a:pt x="915" y="195"/>
                </a:lnTo>
                <a:lnTo>
                  <a:pt x="917" y="199"/>
                </a:lnTo>
                <a:lnTo>
                  <a:pt x="920" y="202"/>
                </a:lnTo>
                <a:lnTo>
                  <a:pt x="922" y="204"/>
                </a:lnTo>
                <a:lnTo>
                  <a:pt x="923" y="206"/>
                </a:lnTo>
                <a:lnTo>
                  <a:pt x="925" y="209"/>
                </a:lnTo>
                <a:lnTo>
                  <a:pt x="926" y="210"/>
                </a:lnTo>
                <a:lnTo>
                  <a:pt x="926" y="211"/>
                </a:lnTo>
                <a:lnTo>
                  <a:pt x="928" y="214"/>
                </a:lnTo>
                <a:lnTo>
                  <a:pt x="929" y="215"/>
                </a:lnTo>
                <a:lnTo>
                  <a:pt x="931" y="217"/>
                </a:lnTo>
                <a:lnTo>
                  <a:pt x="931" y="220"/>
                </a:lnTo>
                <a:lnTo>
                  <a:pt x="933" y="222"/>
                </a:lnTo>
                <a:lnTo>
                  <a:pt x="934" y="225"/>
                </a:lnTo>
                <a:lnTo>
                  <a:pt x="936" y="227"/>
                </a:lnTo>
                <a:lnTo>
                  <a:pt x="937" y="230"/>
                </a:lnTo>
                <a:lnTo>
                  <a:pt x="939" y="233"/>
                </a:lnTo>
                <a:lnTo>
                  <a:pt x="939" y="235"/>
                </a:lnTo>
                <a:lnTo>
                  <a:pt x="940" y="237"/>
                </a:lnTo>
                <a:lnTo>
                  <a:pt x="942" y="238"/>
                </a:lnTo>
                <a:lnTo>
                  <a:pt x="943" y="241"/>
                </a:lnTo>
                <a:lnTo>
                  <a:pt x="944" y="244"/>
                </a:lnTo>
                <a:lnTo>
                  <a:pt x="945" y="247"/>
                </a:lnTo>
                <a:lnTo>
                  <a:pt x="946" y="249"/>
                </a:lnTo>
                <a:lnTo>
                  <a:pt x="946" y="250"/>
                </a:lnTo>
                <a:lnTo>
                  <a:pt x="949" y="254"/>
                </a:lnTo>
                <a:lnTo>
                  <a:pt x="949" y="257"/>
                </a:lnTo>
                <a:lnTo>
                  <a:pt x="951" y="261"/>
                </a:lnTo>
                <a:lnTo>
                  <a:pt x="954" y="267"/>
                </a:lnTo>
                <a:lnTo>
                  <a:pt x="954" y="269"/>
                </a:lnTo>
                <a:lnTo>
                  <a:pt x="954" y="271"/>
                </a:lnTo>
                <a:lnTo>
                  <a:pt x="955" y="272"/>
                </a:lnTo>
                <a:lnTo>
                  <a:pt x="956" y="278"/>
                </a:lnTo>
                <a:lnTo>
                  <a:pt x="957" y="282"/>
                </a:lnTo>
                <a:lnTo>
                  <a:pt x="960" y="289"/>
                </a:lnTo>
                <a:lnTo>
                  <a:pt x="961" y="294"/>
                </a:lnTo>
                <a:lnTo>
                  <a:pt x="962" y="300"/>
                </a:lnTo>
                <a:lnTo>
                  <a:pt x="965" y="311"/>
                </a:lnTo>
                <a:lnTo>
                  <a:pt x="965" y="314"/>
                </a:lnTo>
                <a:lnTo>
                  <a:pt x="966" y="318"/>
                </a:lnTo>
                <a:lnTo>
                  <a:pt x="966" y="321"/>
                </a:lnTo>
                <a:lnTo>
                  <a:pt x="967" y="325"/>
                </a:lnTo>
                <a:lnTo>
                  <a:pt x="967" y="330"/>
                </a:lnTo>
                <a:lnTo>
                  <a:pt x="968" y="333"/>
                </a:lnTo>
                <a:lnTo>
                  <a:pt x="968" y="338"/>
                </a:lnTo>
                <a:lnTo>
                  <a:pt x="969" y="343"/>
                </a:lnTo>
                <a:lnTo>
                  <a:pt x="969" y="349"/>
                </a:lnTo>
                <a:lnTo>
                  <a:pt x="969" y="355"/>
                </a:lnTo>
                <a:lnTo>
                  <a:pt x="971" y="369"/>
                </a:lnTo>
                <a:lnTo>
                  <a:pt x="971" y="375"/>
                </a:lnTo>
                <a:lnTo>
                  <a:pt x="972" y="380"/>
                </a:lnTo>
                <a:lnTo>
                  <a:pt x="972" y="386"/>
                </a:lnTo>
                <a:lnTo>
                  <a:pt x="972" y="399"/>
                </a:lnTo>
                <a:lnTo>
                  <a:pt x="972" y="480"/>
                </a:lnTo>
                <a:lnTo>
                  <a:pt x="972" y="551"/>
                </a:lnTo>
                <a:lnTo>
                  <a:pt x="972" y="559"/>
                </a:lnTo>
                <a:lnTo>
                  <a:pt x="972" y="564"/>
                </a:lnTo>
                <a:lnTo>
                  <a:pt x="971" y="568"/>
                </a:lnTo>
                <a:lnTo>
                  <a:pt x="971" y="573"/>
                </a:lnTo>
                <a:lnTo>
                  <a:pt x="971" y="579"/>
                </a:lnTo>
                <a:lnTo>
                  <a:pt x="971" y="587"/>
                </a:lnTo>
                <a:lnTo>
                  <a:pt x="969" y="593"/>
                </a:lnTo>
                <a:lnTo>
                  <a:pt x="969" y="599"/>
                </a:lnTo>
                <a:lnTo>
                  <a:pt x="968" y="604"/>
                </a:lnTo>
                <a:lnTo>
                  <a:pt x="968" y="609"/>
                </a:lnTo>
                <a:lnTo>
                  <a:pt x="967" y="618"/>
                </a:lnTo>
                <a:lnTo>
                  <a:pt x="966" y="625"/>
                </a:lnTo>
                <a:lnTo>
                  <a:pt x="965" y="632"/>
                </a:lnTo>
                <a:lnTo>
                  <a:pt x="962" y="642"/>
                </a:lnTo>
                <a:lnTo>
                  <a:pt x="961" y="648"/>
                </a:lnTo>
                <a:lnTo>
                  <a:pt x="960" y="653"/>
                </a:lnTo>
                <a:lnTo>
                  <a:pt x="959" y="658"/>
                </a:lnTo>
                <a:lnTo>
                  <a:pt x="952" y="676"/>
                </a:lnTo>
                <a:lnTo>
                  <a:pt x="951" y="681"/>
                </a:lnTo>
                <a:lnTo>
                  <a:pt x="950" y="686"/>
                </a:lnTo>
                <a:lnTo>
                  <a:pt x="949" y="690"/>
                </a:lnTo>
                <a:lnTo>
                  <a:pt x="948" y="692"/>
                </a:lnTo>
                <a:lnTo>
                  <a:pt x="946" y="693"/>
                </a:lnTo>
                <a:lnTo>
                  <a:pt x="945" y="696"/>
                </a:lnTo>
                <a:lnTo>
                  <a:pt x="945" y="697"/>
                </a:lnTo>
                <a:lnTo>
                  <a:pt x="943" y="701"/>
                </a:lnTo>
                <a:lnTo>
                  <a:pt x="942" y="703"/>
                </a:lnTo>
                <a:lnTo>
                  <a:pt x="940" y="706"/>
                </a:lnTo>
                <a:lnTo>
                  <a:pt x="939" y="708"/>
                </a:lnTo>
                <a:lnTo>
                  <a:pt x="939" y="710"/>
                </a:lnTo>
                <a:lnTo>
                  <a:pt x="938" y="713"/>
                </a:lnTo>
                <a:lnTo>
                  <a:pt x="936" y="717"/>
                </a:lnTo>
                <a:lnTo>
                  <a:pt x="934" y="719"/>
                </a:lnTo>
                <a:lnTo>
                  <a:pt x="932" y="721"/>
                </a:lnTo>
                <a:lnTo>
                  <a:pt x="931" y="724"/>
                </a:lnTo>
                <a:lnTo>
                  <a:pt x="929" y="726"/>
                </a:lnTo>
                <a:lnTo>
                  <a:pt x="928" y="728"/>
                </a:lnTo>
                <a:lnTo>
                  <a:pt x="926" y="729"/>
                </a:lnTo>
                <a:lnTo>
                  <a:pt x="925" y="731"/>
                </a:lnTo>
                <a:lnTo>
                  <a:pt x="923" y="734"/>
                </a:lnTo>
                <a:lnTo>
                  <a:pt x="922" y="736"/>
                </a:lnTo>
                <a:lnTo>
                  <a:pt x="920" y="737"/>
                </a:lnTo>
                <a:lnTo>
                  <a:pt x="919" y="740"/>
                </a:lnTo>
                <a:lnTo>
                  <a:pt x="917" y="742"/>
                </a:lnTo>
                <a:lnTo>
                  <a:pt x="913" y="746"/>
                </a:lnTo>
                <a:lnTo>
                  <a:pt x="908" y="752"/>
                </a:lnTo>
                <a:lnTo>
                  <a:pt x="902" y="758"/>
                </a:lnTo>
                <a:lnTo>
                  <a:pt x="897" y="763"/>
                </a:lnTo>
                <a:lnTo>
                  <a:pt x="896" y="763"/>
                </a:lnTo>
                <a:lnTo>
                  <a:pt x="894" y="765"/>
                </a:lnTo>
                <a:lnTo>
                  <a:pt x="892" y="767"/>
                </a:lnTo>
                <a:lnTo>
                  <a:pt x="890" y="769"/>
                </a:lnTo>
                <a:lnTo>
                  <a:pt x="887" y="770"/>
                </a:lnTo>
                <a:lnTo>
                  <a:pt x="885" y="772"/>
                </a:lnTo>
                <a:lnTo>
                  <a:pt x="884" y="773"/>
                </a:lnTo>
                <a:lnTo>
                  <a:pt x="881" y="774"/>
                </a:lnTo>
                <a:lnTo>
                  <a:pt x="880" y="775"/>
                </a:lnTo>
                <a:lnTo>
                  <a:pt x="878" y="776"/>
                </a:lnTo>
                <a:lnTo>
                  <a:pt x="875" y="778"/>
                </a:lnTo>
                <a:lnTo>
                  <a:pt x="871" y="780"/>
                </a:lnTo>
                <a:lnTo>
                  <a:pt x="870" y="780"/>
                </a:lnTo>
                <a:lnTo>
                  <a:pt x="868" y="781"/>
                </a:lnTo>
                <a:lnTo>
                  <a:pt x="865" y="782"/>
                </a:lnTo>
                <a:lnTo>
                  <a:pt x="863" y="784"/>
                </a:lnTo>
                <a:lnTo>
                  <a:pt x="858" y="786"/>
                </a:lnTo>
                <a:lnTo>
                  <a:pt x="856" y="787"/>
                </a:lnTo>
                <a:lnTo>
                  <a:pt x="852" y="789"/>
                </a:lnTo>
                <a:lnTo>
                  <a:pt x="851" y="790"/>
                </a:lnTo>
                <a:lnTo>
                  <a:pt x="847" y="791"/>
                </a:lnTo>
                <a:lnTo>
                  <a:pt x="834" y="796"/>
                </a:lnTo>
                <a:lnTo>
                  <a:pt x="832" y="796"/>
                </a:lnTo>
                <a:lnTo>
                  <a:pt x="829" y="797"/>
                </a:lnTo>
                <a:lnTo>
                  <a:pt x="823" y="798"/>
                </a:lnTo>
                <a:lnTo>
                  <a:pt x="816" y="801"/>
                </a:lnTo>
                <a:lnTo>
                  <a:pt x="812" y="801"/>
                </a:lnTo>
                <a:lnTo>
                  <a:pt x="803" y="803"/>
                </a:lnTo>
                <a:lnTo>
                  <a:pt x="799" y="803"/>
                </a:lnTo>
                <a:lnTo>
                  <a:pt x="795" y="804"/>
                </a:lnTo>
                <a:lnTo>
                  <a:pt x="792" y="804"/>
                </a:lnTo>
                <a:lnTo>
                  <a:pt x="786" y="806"/>
                </a:lnTo>
                <a:lnTo>
                  <a:pt x="780" y="806"/>
                </a:lnTo>
                <a:lnTo>
                  <a:pt x="772" y="807"/>
                </a:lnTo>
                <a:lnTo>
                  <a:pt x="741" y="808"/>
                </a:lnTo>
                <a:lnTo>
                  <a:pt x="734" y="808"/>
                </a:lnTo>
                <a:lnTo>
                  <a:pt x="728" y="807"/>
                </a:lnTo>
                <a:lnTo>
                  <a:pt x="724" y="807"/>
                </a:lnTo>
                <a:lnTo>
                  <a:pt x="722" y="807"/>
                </a:lnTo>
                <a:lnTo>
                  <a:pt x="718" y="807"/>
                </a:lnTo>
                <a:lnTo>
                  <a:pt x="714" y="807"/>
                </a:lnTo>
                <a:lnTo>
                  <a:pt x="707" y="807"/>
                </a:lnTo>
                <a:lnTo>
                  <a:pt x="701" y="806"/>
                </a:lnTo>
                <a:lnTo>
                  <a:pt x="695" y="806"/>
                </a:lnTo>
                <a:lnTo>
                  <a:pt x="691" y="804"/>
                </a:lnTo>
                <a:lnTo>
                  <a:pt x="687" y="804"/>
                </a:lnTo>
                <a:lnTo>
                  <a:pt x="683" y="803"/>
                </a:lnTo>
                <a:lnTo>
                  <a:pt x="679" y="803"/>
                </a:lnTo>
                <a:lnTo>
                  <a:pt x="676" y="802"/>
                </a:lnTo>
                <a:lnTo>
                  <a:pt x="673" y="802"/>
                </a:lnTo>
                <a:lnTo>
                  <a:pt x="670" y="801"/>
                </a:lnTo>
                <a:lnTo>
                  <a:pt x="667" y="801"/>
                </a:lnTo>
                <a:lnTo>
                  <a:pt x="658" y="798"/>
                </a:lnTo>
                <a:lnTo>
                  <a:pt x="635" y="791"/>
                </a:lnTo>
                <a:lnTo>
                  <a:pt x="632" y="790"/>
                </a:lnTo>
                <a:lnTo>
                  <a:pt x="612" y="779"/>
                </a:lnTo>
                <a:lnTo>
                  <a:pt x="608" y="778"/>
                </a:lnTo>
                <a:lnTo>
                  <a:pt x="607" y="776"/>
                </a:lnTo>
                <a:lnTo>
                  <a:pt x="606" y="775"/>
                </a:lnTo>
                <a:lnTo>
                  <a:pt x="603" y="774"/>
                </a:lnTo>
                <a:lnTo>
                  <a:pt x="602" y="773"/>
                </a:lnTo>
                <a:lnTo>
                  <a:pt x="600" y="772"/>
                </a:lnTo>
                <a:lnTo>
                  <a:pt x="598" y="769"/>
                </a:lnTo>
                <a:lnTo>
                  <a:pt x="596" y="768"/>
                </a:lnTo>
                <a:lnTo>
                  <a:pt x="593" y="765"/>
                </a:lnTo>
                <a:lnTo>
                  <a:pt x="590" y="763"/>
                </a:lnTo>
                <a:lnTo>
                  <a:pt x="584" y="757"/>
                </a:lnTo>
                <a:lnTo>
                  <a:pt x="581" y="756"/>
                </a:lnTo>
                <a:lnTo>
                  <a:pt x="579" y="753"/>
                </a:lnTo>
                <a:lnTo>
                  <a:pt x="573" y="746"/>
                </a:lnTo>
                <a:lnTo>
                  <a:pt x="569" y="742"/>
                </a:lnTo>
                <a:lnTo>
                  <a:pt x="567" y="740"/>
                </a:lnTo>
                <a:lnTo>
                  <a:pt x="566" y="737"/>
                </a:lnTo>
                <a:lnTo>
                  <a:pt x="564" y="736"/>
                </a:lnTo>
                <a:lnTo>
                  <a:pt x="563" y="734"/>
                </a:lnTo>
                <a:lnTo>
                  <a:pt x="562" y="732"/>
                </a:lnTo>
                <a:lnTo>
                  <a:pt x="561" y="731"/>
                </a:lnTo>
                <a:lnTo>
                  <a:pt x="560" y="729"/>
                </a:lnTo>
                <a:lnTo>
                  <a:pt x="558" y="728"/>
                </a:lnTo>
                <a:lnTo>
                  <a:pt x="558" y="725"/>
                </a:lnTo>
                <a:lnTo>
                  <a:pt x="557" y="723"/>
                </a:lnTo>
                <a:lnTo>
                  <a:pt x="555" y="720"/>
                </a:lnTo>
                <a:lnTo>
                  <a:pt x="552" y="717"/>
                </a:lnTo>
                <a:lnTo>
                  <a:pt x="551" y="714"/>
                </a:lnTo>
                <a:lnTo>
                  <a:pt x="550" y="712"/>
                </a:lnTo>
                <a:lnTo>
                  <a:pt x="549" y="709"/>
                </a:lnTo>
                <a:lnTo>
                  <a:pt x="548" y="707"/>
                </a:lnTo>
                <a:lnTo>
                  <a:pt x="548" y="706"/>
                </a:lnTo>
                <a:lnTo>
                  <a:pt x="545" y="702"/>
                </a:lnTo>
                <a:lnTo>
                  <a:pt x="544" y="698"/>
                </a:lnTo>
                <a:lnTo>
                  <a:pt x="543" y="696"/>
                </a:lnTo>
                <a:lnTo>
                  <a:pt x="543" y="695"/>
                </a:lnTo>
                <a:lnTo>
                  <a:pt x="540" y="691"/>
                </a:lnTo>
                <a:lnTo>
                  <a:pt x="540" y="689"/>
                </a:lnTo>
                <a:lnTo>
                  <a:pt x="538" y="682"/>
                </a:lnTo>
                <a:lnTo>
                  <a:pt x="528" y="651"/>
                </a:lnTo>
                <a:lnTo>
                  <a:pt x="528" y="648"/>
                </a:lnTo>
                <a:lnTo>
                  <a:pt x="526" y="638"/>
                </a:lnTo>
                <a:lnTo>
                  <a:pt x="523" y="630"/>
                </a:lnTo>
                <a:lnTo>
                  <a:pt x="523" y="623"/>
                </a:lnTo>
                <a:lnTo>
                  <a:pt x="522" y="619"/>
                </a:lnTo>
                <a:lnTo>
                  <a:pt x="522" y="615"/>
                </a:lnTo>
                <a:lnTo>
                  <a:pt x="521" y="610"/>
                </a:lnTo>
                <a:lnTo>
                  <a:pt x="521" y="606"/>
                </a:lnTo>
                <a:lnTo>
                  <a:pt x="520" y="601"/>
                </a:lnTo>
                <a:lnTo>
                  <a:pt x="520" y="593"/>
                </a:lnTo>
                <a:lnTo>
                  <a:pt x="519" y="587"/>
                </a:lnTo>
                <a:lnTo>
                  <a:pt x="519" y="577"/>
                </a:lnTo>
                <a:lnTo>
                  <a:pt x="519" y="573"/>
                </a:lnTo>
                <a:lnTo>
                  <a:pt x="519" y="566"/>
                </a:lnTo>
                <a:lnTo>
                  <a:pt x="517" y="562"/>
                </a:lnTo>
                <a:lnTo>
                  <a:pt x="517" y="557"/>
                </a:lnTo>
                <a:lnTo>
                  <a:pt x="517" y="546"/>
                </a:lnTo>
                <a:lnTo>
                  <a:pt x="517" y="483"/>
                </a:lnTo>
                <a:lnTo>
                  <a:pt x="517" y="399"/>
                </a:lnTo>
                <a:lnTo>
                  <a:pt x="517" y="387"/>
                </a:lnTo>
                <a:lnTo>
                  <a:pt x="517" y="382"/>
                </a:lnTo>
                <a:lnTo>
                  <a:pt x="517" y="380"/>
                </a:lnTo>
                <a:lnTo>
                  <a:pt x="519" y="377"/>
                </a:lnTo>
                <a:lnTo>
                  <a:pt x="519" y="374"/>
                </a:lnTo>
                <a:lnTo>
                  <a:pt x="519" y="371"/>
                </a:lnTo>
                <a:lnTo>
                  <a:pt x="519" y="368"/>
                </a:lnTo>
                <a:lnTo>
                  <a:pt x="519" y="365"/>
                </a:lnTo>
                <a:lnTo>
                  <a:pt x="519" y="357"/>
                </a:lnTo>
                <a:lnTo>
                  <a:pt x="519" y="350"/>
                </a:lnTo>
                <a:lnTo>
                  <a:pt x="520" y="344"/>
                </a:lnTo>
                <a:lnTo>
                  <a:pt x="521" y="339"/>
                </a:lnTo>
                <a:lnTo>
                  <a:pt x="521" y="335"/>
                </a:lnTo>
                <a:lnTo>
                  <a:pt x="522" y="330"/>
                </a:lnTo>
                <a:lnTo>
                  <a:pt x="522" y="326"/>
                </a:lnTo>
                <a:lnTo>
                  <a:pt x="523" y="318"/>
                </a:lnTo>
                <a:lnTo>
                  <a:pt x="525" y="311"/>
                </a:lnTo>
                <a:lnTo>
                  <a:pt x="526" y="305"/>
                </a:lnTo>
                <a:lnTo>
                  <a:pt x="526" y="303"/>
                </a:lnTo>
                <a:lnTo>
                  <a:pt x="527" y="299"/>
                </a:lnTo>
                <a:lnTo>
                  <a:pt x="527" y="297"/>
                </a:lnTo>
                <a:lnTo>
                  <a:pt x="528" y="296"/>
                </a:lnTo>
                <a:lnTo>
                  <a:pt x="529" y="289"/>
                </a:lnTo>
                <a:lnTo>
                  <a:pt x="531" y="283"/>
                </a:lnTo>
                <a:lnTo>
                  <a:pt x="532" y="282"/>
                </a:lnTo>
                <a:lnTo>
                  <a:pt x="533" y="277"/>
                </a:lnTo>
                <a:lnTo>
                  <a:pt x="533" y="275"/>
                </a:lnTo>
                <a:lnTo>
                  <a:pt x="533" y="274"/>
                </a:lnTo>
                <a:lnTo>
                  <a:pt x="534" y="271"/>
                </a:lnTo>
                <a:lnTo>
                  <a:pt x="534" y="270"/>
                </a:lnTo>
                <a:lnTo>
                  <a:pt x="535" y="267"/>
                </a:lnTo>
                <a:lnTo>
                  <a:pt x="535" y="266"/>
                </a:lnTo>
                <a:lnTo>
                  <a:pt x="537" y="265"/>
                </a:lnTo>
                <a:lnTo>
                  <a:pt x="538" y="261"/>
                </a:lnTo>
                <a:lnTo>
                  <a:pt x="539" y="257"/>
                </a:lnTo>
                <a:lnTo>
                  <a:pt x="540" y="253"/>
                </a:lnTo>
                <a:lnTo>
                  <a:pt x="541" y="250"/>
                </a:lnTo>
                <a:lnTo>
                  <a:pt x="543" y="248"/>
                </a:lnTo>
                <a:lnTo>
                  <a:pt x="544" y="247"/>
                </a:lnTo>
                <a:lnTo>
                  <a:pt x="545" y="244"/>
                </a:lnTo>
                <a:lnTo>
                  <a:pt x="546" y="241"/>
                </a:lnTo>
                <a:lnTo>
                  <a:pt x="548" y="238"/>
                </a:lnTo>
                <a:lnTo>
                  <a:pt x="549" y="236"/>
                </a:lnTo>
                <a:lnTo>
                  <a:pt x="550" y="233"/>
                </a:lnTo>
                <a:lnTo>
                  <a:pt x="551" y="231"/>
                </a:lnTo>
                <a:lnTo>
                  <a:pt x="552" y="228"/>
                </a:lnTo>
                <a:lnTo>
                  <a:pt x="554" y="226"/>
                </a:lnTo>
                <a:lnTo>
                  <a:pt x="555" y="225"/>
                </a:lnTo>
                <a:lnTo>
                  <a:pt x="556" y="222"/>
                </a:lnTo>
                <a:lnTo>
                  <a:pt x="557" y="220"/>
                </a:lnTo>
                <a:lnTo>
                  <a:pt x="560" y="216"/>
                </a:lnTo>
                <a:lnTo>
                  <a:pt x="561" y="215"/>
                </a:lnTo>
                <a:lnTo>
                  <a:pt x="562" y="213"/>
                </a:lnTo>
                <a:lnTo>
                  <a:pt x="562" y="211"/>
                </a:lnTo>
                <a:lnTo>
                  <a:pt x="563" y="209"/>
                </a:lnTo>
                <a:lnTo>
                  <a:pt x="566" y="209"/>
                </a:lnTo>
                <a:lnTo>
                  <a:pt x="567" y="206"/>
                </a:lnTo>
                <a:lnTo>
                  <a:pt x="568" y="204"/>
                </a:lnTo>
                <a:lnTo>
                  <a:pt x="571" y="202"/>
                </a:lnTo>
                <a:lnTo>
                  <a:pt x="573" y="198"/>
                </a:lnTo>
                <a:lnTo>
                  <a:pt x="577" y="194"/>
                </a:lnTo>
                <a:lnTo>
                  <a:pt x="587" y="182"/>
                </a:lnTo>
                <a:lnTo>
                  <a:pt x="592" y="177"/>
                </a:lnTo>
                <a:lnTo>
                  <a:pt x="596" y="174"/>
                </a:lnTo>
                <a:lnTo>
                  <a:pt x="600" y="171"/>
                </a:lnTo>
                <a:lnTo>
                  <a:pt x="602" y="169"/>
                </a:lnTo>
                <a:lnTo>
                  <a:pt x="604" y="167"/>
                </a:lnTo>
                <a:lnTo>
                  <a:pt x="606" y="166"/>
                </a:lnTo>
                <a:lnTo>
                  <a:pt x="608" y="165"/>
                </a:lnTo>
                <a:lnTo>
                  <a:pt x="610" y="164"/>
                </a:lnTo>
                <a:lnTo>
                  <a:pt x="613" y="163"/>
                </a:lnTo>
                <a:lnTo>
                  <a:pt x="614" y="161"/>
                </a:lnTo>
                <a:lnTo>
                  <a:pt x="616" y="160"/>
                </a:lnTo>
                <a:lnTo>
                  <a:pt x="618" y="159"/>
                </a:lnTo>
                <a:lnTo>
                  <a:pt x="620" y="158"/>
                </a:lnTo>
                <a:lnTo>
                  <a:pt x="622" y="156"/>
                </a:lnTo>
                <a:lnTo>
                  <a:pt x="625" y="155"/>
                </a:lnTo>
                <a:lnTo>
                  <a:pt x="627" y="154"/>
                </a:lnTo>
                <a:lnTo>
                  <a:pt x="630" y="153"/>
                </a:lnTo>
                <a:lnTo>
                  <a:pt x="632" y="152"/>
                </a:lnTo>
                <a:lnTo>
                  <a:pt x="636" y="149"/>
                </a:lnTo>
                <a:lnTo>
                  <a:pt x="638" y="149"/>
                </a:lnTo>
                <a:lnTo>
                  <a:pt x="641" y="148"/>
                </a:lnTo>
                <a:lnTo>
                  <a:pt x="642" y="147"/>
                </a:lnTo>
                <a:lnTo>
                  <a:pt x="645" y="145"/>
                </a:lnTo>
                <a:lnTo>
                  <a:pt x="648" y="144"/>
                </a:lnTo>
                <a:lnTo>
                  <a:pt x="653" y="143"/>
                </a:lnTo>
                <a:lnTo>
                  <a:pt x="654" y="142"/>
                </a:lnTo>
                <a:lnTo>
                  <a:pt x="656" y="142"/>
                </a:lnTo>
                <a:lnTo>
                  <a:pt x="658" y="141"/>
                </a:lnTo>
                <a:lnTo>
                  <a:pt x="660" y="141"/>
                </a:lnTo>
                <a:lnTo>
                  <a:pt x="665" y="138"/>
                </a:lnTo>
                <a:lnTo>
                  <a:pt x="667" y="138"/>
                </a:lnTo>
                <a:lnTo>
                  <a:pt x="670" y="137"/>
                </a:lnTo>
                <a:lnTo>
                  <a:pt x="672" y="137"/>
                </a:lnTo>
                <a:lnTo>
                  <a:pt x="674" y="136"/>
                </a:lnTo>
                <a:lnTo>
                  <a:pt x="677" y="136"/>
                </a:lnTo>
                <a:lnTo>
                  <a:pt x="678" y="136"/>
                </a:lnTo>
                <a:lnTo>
                  <a:pt x="682" y="134"/>
                </a:lnTo>
                <a:lnTo>
                  <a:pt x="684" y="134"/>
                </a:lnTo>
                <a:lnTo>
                  <a:pt x="694" y="132"/>
                </a:lnTo>
                <a:lnTo>
                  <a:pt x="697" y="132"/>
                </a:lnTo>
                <a:lnTo>
                  <a:pt x="702" y="131"/>
                </a:lnTo>
                <a:lnTo>
                  <a:pt x="707" y="131"/>
                </a:lnTo>
                <a:lnTo>
                  <a:pt x="712" y="130"/>
                </a:lnTo>
                <a:lnTo>
                  <a:pt x="719" y="130"/>
                </a:lnTo>
                <a:lnTo>
                  <a:pt x="722" y="128"/>
                </a:lnTo>
                <a:lnTo>
                  <a:pt x="725" y="128"/>
                </a:lnTo>
                <a:lnTo>
                  <a:pt x="728" y="128"/>
                </a:lnTo>
                <a:lnTo>
                  <a:pt x="729" y="128"/>
                </a:lnTo>
                <a:close/>
                <a:moveTo>
                  <a:pt x="3013" y="127"/>
                </a:moveTo>
                <a:lnTo>
                  <a:pt x="3013" y="309"/>
                </a:lnTo>
                <a:lnTo>
                  <a:pt x="3034" y="309"/>
                </a:lnTo>
                <a:lnTo>
                  <a:pt x="3041" y="309"/>
                </a:lnTo>
                <a:lnTo>
                  <a:pt x="3046" y="308"/>
                </a:lnTo>
                <a:lnTo>
                  <a:pt x="3051" y="308"/>
                </a:lnTo>
                <a:lnTo>
                  <a:pt x="3054" y="308"/>
                </a:lnTo>
                <a:lnTo>
                  <a:pt x="3057" y="307"/>
                </a:lnTo>
                <a:lnTo>
                  <a:pt x="3058" y="307"/>
                </a:lnTo>
                <a:lnTo>
                  <a:pt x="3060" y="305"/>
                </a:lnTo>
                <a:lnTo>
                  <a:pt x="3062" y="305"/>
                </a:lnTo>
                <a:lnTo>
                  <a:pt x="3064" y="304"/>
                </a:lnTo>
                <a:lnTo>
                  <a:pt x="3068" y="303"/>
                </a:lnTo>
                <a:lnTo>
                  <a:pt x="3071" y="300"/>
                </a:lnTo>
                <a:lnTo>
                  <a:pt x="3074" y="299"/>
                </a:lnTo>
                <a:lnTo>
                  <a:pt x="3075" y="297"/>
                </a:lnTo>
                <a:lnTo>
                  <a:pt x="3077" y="296"/>
                </a:lnTo>
                <a:lnTo>
                  <a:pt x="3080" y="294"/>
                </a:lnTo>
                <a:lnTo>
                  <a:pt x="3082" y="292"/>
                </a:lnTo>
                <a:lnTo>
                  <a:pt x="3085" y="288"/>
                </a:lnTo>
                <a:lnTo>
                  <a:pt x="3086" y="287"/>
                </a:lnTo>
                <a:lnTo>
                  <a:pt x="3087" y="285"/>
                </a:lnTo>
                <a:lnTo>
                  <a:pt x="3088" y="282"/>
                </a:lnTo>
                <a:lnTo>
                  <a:pt x="3091" y="277"/>
                </a:lnTo>
                <a:lnTo>
                  <a:pt x="3092" y="274"/>
                </a:lnTo>
                <a:lnTo>
                  <a:pt x="3094" y="266"/>
                </a:lnTo>
                <a:lnTo>
                  <a:pt x="3094" y="261"/>
                </a:lnTo>
                <a:lnTo>
                  <a:pt x="3094" y="258"/>
                </a:lnTo>
                <a:lnTo>
                  <a:pt x="3095" y="239"/>
                </a:lnTo>
                <a:lnTo>
                  <a:pt x="3095" y="210"/>
                </a:lnTo>
                <a:lnTo>
                  <a:pt x="3095" y="177"/>
                </a:lnTo>
                <a:lnTo>
                  <a:pt x="3094" y="172"/>
                </a:lnTo>
                <a:lnTo>
                  <a:pt x="3093" y="166"/>
                </a:lnTo>
                <a:lnTo>
                  <a:pt x="3093" y="165"/>
                </a:lnTo>
                <a:lnTo>
                  <a:pt x="3092" y="164"/>
                </a:lnTo>
                <a:lnTo>
                  <a:pt x="3092" y="161"/>
                </a:lnTo>
                <a:lnTo>
                  <a:pt x="3091" y="160"/>
                </a:lnTo>
                <a:lnTo>
                  <a:pt x="3089" y="156"/>
                </a:lnTo>
                <a:lnTo>
                  <a:pt x="3087" y="152"/>
                </a:lnTo>
                <a:lnTo>
                  <a:pt x="3086" y="150"/>
                </a:lnTo>
                <a:lnTo>
                  <a:pt x="3085" y="148"/>
                </a:lnTo>
                <a:lnTo>
                  <a:pt x="3082" y="147"/>
                </a:lnTo>
                <a:lnTo>
                  <a:pt x="3079" y="142"/>
                </a:lnTo>
                <a:lnTo>
                  <a:pt x="3076" y="141"/>
                </a:lnTo>
                <a:lnTo>
                  <a:pt x="3075" y="138"/>
                </a:lnTo>
                <a:lnTo>
                  <a:pt x="3073" y="137"/>
                </a:lnTo>
                <a:lnTo>
                  <a:pt x="3071" y="136"/>
                </a:lnTo>
                <a:lnTo>
                  <a:pt x="3068" y="134"/>
                </a:lnTo>
                <a:lnTo>
                  <a:pt x="3064" y="133"/>
                </a:lnTo>
                <a:lnTo>
                  <a:pt x="3062" y="132"/>
                </a:lnTo>
                <a:lnTo>
                  <a:pt x="3047" y="127"/>
                </a:lnTo>
                <a:lnTo>
                  <a:pt x="3013" y="127"/>
                </a:lnTo>
                <a:close/>
                <a:moveTo>
                  <a:pt x="205" y="127"/>
                </a:moveTo>
                <a:lnTo>
                  <a:pt x="205" y="355"/>
                </a:lnTo>
                <a:lnTo>
                  <a:pt x="225" y="355"/>
                </a:lnTo>
                <a:lnTo>
                  <a:pt x="233" y="354"/>
                </a:lnTo>
                <a:lnTo>
                  <a:pt x="241" y="353"/>
                </a:lnTo>
                <a:lnTo>
                  <a:pt x="247" y="352"/>
                </a:lnTo>
                <a:lnTo>
                  <a:pt x="249" y="350"/>
                </a:lnTo>
                <a:lnTo>
                  <a:pt x="250" y="349"/>
                </a:lnTo>
                <a:lnTo>
                  <a:pt x="253" y="348"/>
                </a:lnTo>
                <a:lnTo>
                  <a:pt x="256" y="347"/>
                </a:lnTo>
                <a:lnTo>
                  <a:pt x="257" y="346"/>
                </a:lnTo>
                <a:lnTo>
                  <a:pt x="259" y="344"/>
                </a:lnTo>
                <a:lnTo>
                  <a:pt x="261" y="342"/>
                </a:lnTo>
                <a:lnTo>
                  <a:pt x="265" y="338"/>
                </a:lnTo>
                <a:lnTo>
                  <a:pt x="268" y="336"/>
                </a:lnTo>
                <a:lnTo>
                  <a:pt x="271" y="333"/>
                </a:lnTo>
                <a:lnTo>
                  <a:pt x="272" y="331"/>
                </a:lnTo>
                <a:lnTo>
                  <a:pt x="273" y="329"/>
                </a:lnTo>
                <a:lnTo>
                  <a:pt x="273" y="326"/>
                </a:lnTo>
                <a:lnTo>
                  <a:pt x="274" y="325"/>
                </a:lnTo>
                <a:lnTo>
                  <a:pt x="276" y="322"/>
                </a:lnTo>
                <a:lnTo>
                  <a:pt x="277" y="320"/>
                </a:lnTo>
                <a:lnTo>
                  <a:pt x="279" y="316"/>
                </a:lnTo>
                <a:lnTo>
                  <a:pt x="280" y="313"/>
                </a:lnTo>
                <a:lnTo>
                  <a:pt x="283" y="307"/>
                </a:lnTo>
                <a:lnTo>
                  <a:pt x="283" y="304"/>
                </a:lnTo>
                <a:lnTo>
                  <a:pt x="284" y="302"/>
                </a:lnTo>
                <a:lnTo>
                  <a:pt x="285" y="297"/>
                </a:lnTo>
                <a:lnTo>
                  <a:pt x="286" y="285"/>
                </a:lnTo>
                <a:lnTo>
                  <a:pt x="286" y="276"/>
                </a:lnTo>
                <a:lnTo>
                  <a:pt x="288" y="274"/>
                </a:lnTo>
                <a:lnTo>
                  <a:pt x="288" y="270"/>
                </a:lnTo>
                <a:lnTo>
                  <a:pt x="288" y="263"/>
                </a:lnTo>
                <a:lnTo>
                  <a:pt x="288" y="237"/>
                </a:lnTo>
                <a:lnTo>
                  <a:pt x="288" y="203"/>
                </a:lnTo>
                <a:lnTo>
                  <a:pt x="286" y="197"/>
                </a:lnTo>
                <a:lnTo>
                  <a:pt x="286" y="188"/>
                </a:lnTo>
                <a:lnTo>
                  <a:pt x="286" y="183"/>
                </a:lnTo>
                <a:lnTo>
                  <a:pt x="285" y="180"/>
                </a:lnTo>
                <a:lnTo>
                  <a:pt x="285" y="177"/>
                </a:lnTo>
                <a:lnTo>
                  <a:pt x="284" y="175"/>
                </a:lnTo>
                <a:lnTo>
                  <a:pt x="284" y="172"/>
                </a:lnTo>
                <a:lnTo>
                  <a:pt x="283" y="167"/>
                </a:lnTo>
                <a:lnTo>
                  <a:pt x="282" y="166"/>
                </a:lnTo>
                <a:lnTo>
                  <a:pt x="282" y="165"/>
                </a:lnTo>
                <a:lnTo>
                  <a:pt x="280" y="163"/>
                </a:lnTo>
                <a:lnTo>
                  <a:pt x="279" y="160"/>
                </a:lnTo>
                <a:lnTo>
                  <a:pt x="279" y="159"/>
                </a:lnTo>
                <a:lnTo>
                  <a:pt x="278" y="156"/>
                </a:lnTo>
                <a:lnTo>
                  <a:pt x="277" y="154"/>
                </a:lnTo>
                <a:lnTo>
                  <a:pt x="274" y="150"/>
                </a:lnTo>
                <a:lnTo>
                  <a:pt x="273" y="149"/>
                </a:lnTo>
                <a:lnTo>
                  <a:pt x="272" y="148"/>
                </a:lnTo>
                <a:lnTo>
                  <a:pt x="270" y="145"/>
                </a:lnTo>
                <a:lnTo>
                  <a:pt x="267" y="142"/>
                </a:lnTo>
                <a:lnTo>
                  <a:pt x="265" y="141"/>
                </a:lnTo>
                <a:lnTo>
                  <a:pt x="263" y="138"/>
                </a:lnTo>
                <a:lnTo>
                  <a:pt x="261" y="137"/>
                </a:lnTo>
                <a:lnTo>
                  <a:pt x="259" y="136"/>
                </a:lnTo>
                <a:lnTo>
                  <a:pt x="256" y="134"/>
                </a:lnTo>
                <a:lnTo>
                  <a:pt x="254" y="133"/>
                </a:lnTo>
                <a:lnTo>
                  <a:pt x="251" y="132"/>
                </a:lnTo>
                <a:lnTo>
                  <a:pt x="244" y="130"/>
                </a:lnTo>
                <a:lnTo>
                  <a:pt x="241" y="128"/>
                </a:lnTo>
                <a:lnTo>
                  <a:pt x="236" y="128"/>
                </a:lnTo>
                <a:lnTo>
                  <a:pt x="226" y="127"/>
                </a:lnTo>
                <a:lnTo>
                  <a:pt x="205" y="127"/>
                </a:lnTo>
                <a:close/>
                <a:moveTo>
                  <a:pt x="5445" y="126"/>
                </a:moveTo>
                <a:lnTo>
                  <a:pt x="5444" y="322"/>
                </a:lnTo>
                <a:lnTo>
                  <a:pt x="5434" y="322"/>
                </a:lnTo>
                <a:lnTo>
                  <a:pt x="5426" y="324"/>
                </a:lnTo>
                <a:lnTo>
                  <a:pt x="5419" y="325"/>
                </a:lnTo>
                <a:lnTo>
                  <a:pt x="5411" y="326"/>
                </a:lnTo>
                <a:lnTo>
                  <a:pt x="5408" y="326"/>
                </a:lnTo>
                <a:lnTo>
                  <a:pt x="5407" y="327"/>
                </a:lnTo>
                <a:lnTo>
                  <a:pt x="5404" y="327"/>
                </a:lnTo>
                <a:lnTo>
                  <a:pt x="5402" y="329"/>
                </a:lnTo>
                <a:lnTo>
                  <a:pt x="5399" y="329"/>
                </a:lnTo>
                <a:lnTo>
                  <a:pt x="5397" y="330"/>
                </a:lnTo>
                <a:lnTo>
                  <a:pt x="5394" y="330"/>
                </a:lnTo>
                <a:lnTo>
                  <a:pt x="5393" y="331"/>
                </a:lnTo>
                <a:lnTo>
                  <a:pt x="5392" y="331"/>
                </a:lnTo>
                <a:lnTo>
                  <a:pt x="5390" y="332"/>
                </a:lnTo>
                <a:lnTo>
                  <a:pt x="5388" y="332"/>
                </a:lnTo>
                <a:lnTo>
                  <a:pt x="5385" y="333"/>
                </a:lnTo>
                <a:lnTo>
                  <a:pt x="5380" y="336"/>
                </a:lnTo>
                <a:lnTo>
                  <a:pt x="5378" y="337"/>
                </a:lnTo>
                <a:lnTo>
                  <a:pt x="5374" y="338"/>
                </a:lnTo>
                <a:lnTo>
                  <a:pt x="5371" y="339"/>
                </a:lnTo>
                <a:lnTo>
                  <a:pt x="5369" y="341"/>
                </a:lnTo>
                <a:lnTo>
                  <a:pt x="5365" y="342"/>
                </a:lnTo>
                <a:lnTo>
                  <a:pt x="5363" y="343"/>
                </a:lnTo>
                <a:lnTo>
                  <a:pt x="5361" y="344"/>
                </a:lnTo>
                <a:lnTo>
                  <a:pt x="5358" y="346"/>
                </a:lnTo>
                <a:lnTo>
                  <a:pt x="5355" y="348"/>
                </a:lnTo>
                <a:lnTo>
                  <a:pt x="5351" y="349"/>
                </a:lnTo>
                <a:lnTo>
                  <a:pt x="5350" y="350"/>
                </a:lnTo>
                <a:lnTo>
                  <a:pt x="5347" y="353"/>
                </a:lnTo>
                <a:lnTo>
                  <a:pt x="5345" y="354"/>
                </a:lnTo>
                <a:lnTo>
                  <a:pt x="5344" y="355"/>
                </a:lnTo>
                <a:lnTo>
                  <a:pt x="5342" y="357"/>
                </a:lnTo>
                <a:lnTo>
                  <a:pt x="5340" y="358"/>
                </a:lnTo>
                <a:lnTo>
                  <a:pt x="5339" y="358"/>
                </a:lnTo>
                <a:lnTo>
                  <a:pt x="5338" y="360"/>
                </a:lnTo>
                <a:lnTo>
                  <a:pt x="5334" y="363"/>
                </a:lnTo>
                <a:lnTo>
                  <a:pt x="5329" y="368"/>
                </a:lnTo>
                <a:lnTo>
                  <a:pt x="5329" y="793"/>
                </a:lnTo>
                <a:lnTo>
                  <a:pt x="5324" y="793"/>
                </a:lnTo>
                <a:lnTo>
                  <a:pt x="5320" y="793"/>
                </a:lnTo>
                <a:lnTo>
                  <a:pt x="5310" y="793"/>
                </a:lnTo>
                <a:lnTo>
                  <a:pt x="5271" y="793"/>
                </a:lnTo>
                <a:lnTo>
                  <a:pt x="5136" y="793"/>
                </a:lnTo>
                <a:lnTo>
                  <a:pt x="5136" y="790"/>
                </a:lnTo>
                <a:lnTo>
                  <a:pt x="5136" y="785"/>
                </a:lnTo>
                <a:lnTo>
                  <a:pt x="5136" y="775"/>
                </a:lnTo>
                <a:lnTo>
                  <a:pt x="5136" y="735"/>
                </a:lnTo>
                <a:lnTo>
                  <a:pt x="5136" y="599"/>
                </a:lnTo>
                <a:lnTo>
                  <a:pt x="5136" y="142"/>
                </a:lnTo>
                <a:lnTo>
                  <a:pt x="5309" y="142"/>
                </a:lnTo>
                <a:lnTo>
                  <a:pt x="5310" y="147"/>
                </a:lnTo>
                <a:lnTo>
                  <a:pt x="5311" y="150"/>
                </a:lnTo>
                <a:lnTo>
                  <a:pt x="5311" y="153"/>
                </a:lnTo>
                <a:lnTo>
                  <a:pt x="5311" y="155"/>
                </a:lnTo>
                <a:lnTo>
                  <a:pt x="5312" y="159"/>
                </a:lnTo>
                <a:lnTo>
                  <a:pt x="5312" y="161"/>
                </a:lnTo>
                <a:lnTo>
                  <a:pt x="5313" y="164"/>
                </a:lnTo>
                <a:lnTo>
                  <a:pt x="5316" y="174"/>
                </a:lnTo>
                <a:lnTo>
                  <a:pt x="5322" y="203"/>
                </a:lnTo>
                <a:lnTo>
                  <a:pt x="5324" y="202"/>
                </a:lnTo>
                <a:lnTo>
                  <a:pt x="5327" y="199"/>
                </a:lnTo>
                <a:lnTo>
                  <a:pt x="5329" y="195"/>
                </a:lnTo>
                <a:lnTo>
                  <a:pt x="5340" y="186"/>
                </a:lnTo>
                <a:lnTo>
                  <a:pt x="5345" y="180"/>
                </a:lnTo>
                <a:lnTo>
                  <a:pt x="5349" y="176"/>
                </a:lnTo>
                <a:lnTo>
                  <a:pt x="5352" y="174"/>
                </a:lnTo>
                <a:lnTo>
                  <a:pt x="5356" y="171"/>
                </a:lnTo>
                <a:lnTo>
                  <a:pt x="5358" y="169"/>
                </a:lnTo>
                <a:lnTo>
                  <a:pt x="5361" y="166"/>
                </a:lnTo>
                <a:lnTo>
                  <a:pt x="5363" y="165"/>
                </a:lnTo>
                <a:lnTo>
                  <a:pt x="5365" y="164"/>
                </a:lnTo>
                <a:lnTo>
                  <a:pt x="5367" y="163"/>
                </a:lnTo>
                <a:lnTo>
                  <a:pt x="5369" y="160"/>
                </a:lnTo>
                <a:lnTo>
                  <a:pt x="5371" y="159"/>
                </a:lnTo>
                <a:lnTo>
                  <a:pt x="5373" y="158"/>
                </a:lnTo>
                <a:lnTo>
                  <a:pt x="5375" y="156"/>
                </a:lnTo>
                <a:lnTo>
                  <a:pt x="5376" y="155"/>
                </a:lnTo>
                <a:lnTo>
                  <a:pt x="5378" y="154"/>
                </a:lnTo>
                <a:lnTo>
                  <a:pt x="5380" y="154"/>
                </a:lnTo>
                <a:lnTo>
                  <a:pt x="5384" y="152"/>
                </a:lnTo>
                <a:lnTo>
                  <a:pt x="5386" y="150"/>
                </a:lnTo>
                <a:lnTo>
                  <a:pt x="5388" y="149"/>
                </a:lnTo>
                <a:lnTo>
                  <a:pt x="5391" y="148"/>
                </a:lnTo>
                <a:lnTo>
                  <a:pt x="5392" y="147"/>
                </a:lnTo>
                <a:lnTo>
                  <a:pt x="5394" y="145"/>
                </a:lnTo>
                <a:lnTo>
                  <a:pt x="5397" y="144"/>
                </a:lnTo>
                <a:lnTo>
                  <a:pt x="5399" y="143"/>
                </a:lnTo>
                <a:lnTo>
                  <a:pt x="5404" y="141"/>
                </a:lnTo>
                <a:lnTo>
                  <a:pt x="5407" y="139"/>
                </a:lnTo>
                <a:lnTo>
                  <a:pt x="5409" y="138"/>
                </a:lnTo>
                <a:lnTo>
                  <a:pt x="5410" y="138"/>
                </a:lnTo>
                <a:lnTo>
                  <a:pt x="5413" y="137"/>
                </a:lnTo>
                <a:lnTo>
                  <a:pt x="5415" y="136"/>
                </a:lnTo>
                <a:lnTo>
                  <a:pt x="5417" y="136"/>
                </a:lnTo>
                <a:lnTo>
                  <a:pt x="5422" y="133"/>
                </a:lnTo>
                <a:lnTo>
                  <a:pt x="5428" y="131"/>
                </a:lnTo>
                <a:lnTo>
                  <a:pt x="5437" y="128"/>
                </a:lnTo>
                <a:lnTo>
                  <a:pt x="5445" y="126"/>
                </a:lnTo>
                <a:close/>
                <a:moveTo>
                  <a:pt x="4119" y="126"/>
                </a:moveTo>
                <a:lnTo>
                  <a:pt x="4119" y="225"/>
                </a:lnTo>
                <a:lnTo>
                  <a:pt x="4118" y="322"/>
                </a:lnTo>
                <a:lnTo>
                  <a:pt x="4111" y="322"/>
                </a:lnTo>
                <a:lnTo>
                  <a:pt x="4104" y="324"/>
                </a:lnTo>
                <a:lnTo>
                  <a:pt x="4098" y="324"/>
                </a:lnTo>
                <a:lnTo>
                  <a:pt x="4091" y="326"/>
                </a:lnTo>
                <a:lnTo>
                  <a:pt x="4085" y="326"/>
                </a:lnTo>
                <a:lnTo>
                  <a:pt x="4083" y="326"/>
                </a:lnTo>
                <a:lnTo>
                  <a:pt x="4081" y="327"/>
                </a:lnTo>
                <a:lnTo>
                  <a:pt x="4078" y="327"/>
                </a:lnTo>
                <a:lnTo>
                  <a:pt x="4076" y="329"/>
                </a:lnTo>
                <a:lnTo>
                  <a:pt x="4073" y="329"/>
                </a:lnTo>
                <a:lnTo>
                  <a:pt x="4072" y="330"/>
                </a:lnTo>
                <a:lnTo>
                  <a:pt x="4066" y="331"/>
                </a:lnTo>
                <a:lnTo>
                  <a:pt x="4064" y="332"/>
                </a:lnTo>
                <a:lnTo>
                  <a:pt x="4062" y="332"/>
                </a:lnTo>
                <a:lnTo>
                  <a:pt x="4060" y="333"/>
                </a:lnTo>
                <a:lnTo>
                  <a:pt x="4056" y="335"/>
                </a:lnTo>
                <a:lnTo>
                  <a:pt x="4053" y="336"/>
                </a:lnTo>
                <a:lnTo>
                  <a:pt x="4050" y="337"/>
                </a:lnTo>
                <a:lnTo>
                  <a:pt x="4047" y="338"/>
                </a:lnTo>
                <a:lnTo>
                  <a:pt x="4043" y="341"/>
                </a:lnTo>
                <a:lnTo>
                  <a:pt x="4042" y="341"/>
                </a:lnTo>
                <a:lnTo>
                  <a:pt x="4036" y="343"/>
                </a:lnTo>
                <a:lnTo>
                  <a:pt x="4035" y="344"/>
                </a:lnTo>
                <a:lnTo>
                  <a:pt x="4032" y="346"/>
                </a:lnTo>
                <a:lnTo>
                  <a:pt x="4030" y="347"/>
                </a:lnTo>
                <a:lnTo>
                  <a:pt x="4027" y="349"/>
                </a:lnTo>
                <a:lnTo>
                  <a:pt x="4024" y="350"/>
                </a:lnTo>
                <a:lnTo>
                  <a:pt x="4023" y="352"/>
                </a:lnTo>
                <a:lnTo>
                  <a:pt x="4020" y="353"/>
                </a:lnTo>
                <a:lnTo>
                  <a:pt x="4019" y="354"/>
                </a:lnTo>
                <a:lnTo>
                  <a:pt x="4017" y="355"/>
                </a:lnTo>
                <a:lnTo>
                  <a:pt x="4015" y="357"/>
                </a:lnTo>
                <a:lnTo>
                  <a:pt x="4014" y="359"/>
                </a:lnTo>
                <a:lnTo>
                  <a:pt x="4010" y="361"/>
                </a:lnTo>
                <a:lnTo>
                  <a:pt x="4007" y="364"/>
                </a:lnTo>
                <a:lnTo>
                  <a:pt x="4003" y="368"/>
                </a:lnTo>
                <a:lnTo>
                  <a:pt x="4003" y="793"/>
                </a:lnTo>
                <a:lnTo>
                  <a:pt x="3811" y="793"/>
                </a:lnTo>
                <a:lnTo>
                  <a:pt x="3811" y="142"/>
                </a:lnTo>
                <a:lnTo>
                  <a:pt x="3984" y="142"/>
                </a:lnTo>
                <a:lnTo>
                  <a:pt x="3997" y="203"/>
                </a:lnTo>
                <a:lnTo>
                  <a:pt x="4001" y="198"/>
                </a:lnTo>
                <a:lnTo>
                  <a:pt x="4002" y="197"/>
                </a:lnTo>
                <a:lnTo>
                  <a:pt x="4008" y="192"/>
                </a:lnTo>
                <a:lnTo>
                  <a:pt x="4015" y="185"/>
                </a:lnTo>
                <a:lnTo>
                  <a:pt x="4019" y="181"/>
                </a:lnTo>
                <a:lnTo>
                  <a:pt x="4024" y="177"/>
                </a:lnTo>
                <a:lnTo>
                  <a:pt x="4026" y="175"/>
                </a:lnTo>
                <a:lnTo>
                  <a:pt x="4029" y="171"/>
                </a:lnTo>
                <a:lnTo>
                  <a:pt x="4032" y="169"/>
                </a:lnTo>
                <a:lnTo>
                  <a:pt x="4035" y="167"/>
                </a:lnTo>
                <a:lnTo>
                  <a:pt x="4037" y="165"/>
                </a:lnTo>
                <a:lnTo>
                  <a:pt x="4039" y="164"/>
                </a:lnTo>
                <a:lnTo>
                  <a:pt x="4042" y="163"/>
                </a:lnTo>
                <a:lnTo>
                  <a:pt x="4043" y="161"/>
                </a:lnTo>
                <a:lnTo>
                  <a:pt x="4044" y="160"/>
                </a:lnTo>
                <a:lnTo>
                  <a:pt x="4047" y="159"/>
                </a:lnTo>
                <a:lnTo>
                  <a:pt x="4048" y="158"/>
                </a:lnTo>
                <a:lnTo>
                  <a:pt x="4050" y="156"/>
                </a:lnTo>
                <a:lnTo>
                  <a:pt x="4052" y="155"/>
                </a:lnTo>
                <a:lnTo>
                  <a:pt x="4054" y="154"/>
                </a:lnTo>
                <a:lnTo>
                  <a:pt x="4056" y="153"/>
                </a:lnTo>
                <a:lnTo>
                  <a:pt x="4059" y="152"/>
                </a:lnTo>
                <a:lnTo>
                  <a:pt x="4062" y="149"/>
                </a:lnTo>
                <a:lnTo>
                  <a:pt x="4065" y="148"/>
                </a:lnTo>
                <a:lnTo>
                  <a:pt x="4067" y="147"/>
                </a:lnTo>
                <a:lnTo>
                  <a:pt x="4071" y="145"/>
                </a:lnTo>
                <a:lnTo>
                  <a:pt x="4076" y="142"/>
                </a:lnTo>
                <a:lnTo>
                  <a:pt x="4078" y="141"/>
                </a:lnTo>
                <a:lnTo>
                  <a:pt x="4082" y="139"/>
                </a:lnTo>
                <a:lnTo>
                  <a:pt x="4084" y="138"/>
                </a:lnTo>
                <a:lnTo>
                  <a:pt x="4087" y="137"/>
                </a:lnTo>
                <a:lnTo>
                  <a:pt x="4088" y="137"/>
                </a:lnTo>
                <a:lnTo>
                  <a:pt x="4090" y="136"/>
                </a:lnTo>
                <a:lnTo>
                  <a:pt x="4094" y="134"/>
                </a:lnTo>
                <a:lnTo>
                  <a:pt x="4099" y="133"/>
                </a:lnTo>
                <a:lnTo>
                  <a:pt x="4119" y="126"/>
                </a:lnTo>
                <a:close/>
                <a:moveTo>
                  <a:pt x="2826" y="0"/>
                </a:moveTo>
                <a:lnTo>
                  <a:pt x="3035" y="0"/>
                </a:lnTo>
                <a:lnTo>
                  <a:pt x="3080" y="0"/>
                </a:lnTo>
                <a:lnTo>
                  <a:pt x="3092" y="0"/>
                </a:lnTo>
                <a:lnTo>
                  <a:pt x="3097" y="0"/>
                </a:lnTo>
                <a:lnTo>
                  <a:pt x="3100" y="0"/>
                </a:lnTo>
                <a:lnTo>
                  <a:pt x="3102" y="1"/>
                </a:lnTo>
                <a:lnTo>
                  <a:pt x="3111" y="1"/>
                </a:lnTo>
                <a:lnTo>
                  <a:pt x="3116" y="1"/>
                </a:lnTo>
                <a:lnTo>
                  <a:pt x="3122" y="3"/>
                </a:lnTo>
                <a:lnTo>
                  <a:pt x="3127" y="3"/>
                </a:lnTo>
                <a:lnTo>
                  <a:pt x="3129" y="4"/>
                </a:lnTo>
                <a:lnTo>
                  <a:pt x="3133" y="4"/>
                </a:lnTo>
                <a:lnTo>
                  <a:pt x="3137" y="4"/>
                </a:lnTo>
                <a:lnTo>
                  <a:pt x="3140" y="5"/>
                </a:lnTo>
                <a:lnTo>
                  <a:pt x="3143" y="5"/>
                </a:lnTo>
                <a:lnTo>
                  <a:pt x="3145" y="6"/>
                </a:lnTo>
                <a:lnTo>
                  <a:pt x="3147" y="6"/>
                </a:lnTo>
                <a:lnTo>
                  <a:pt x="3152" y="8"/>
                </a:lnTo>
                <a:lnTo>
                  <a:pt x="3157" y="9"/>
                </a:lnTo>
                <a:lnTo>
                  <a:pt x="3158" y="10"/>
                </a:lnTo>
                <a:lnTo>
                  <a:pt x="3161" y="10"/>
                </a:lnTo>
                <a:lnTo>
                  <a:pt x="3175" y="16"/>
                </a:lnTo>
                <a:lnTo>
                  <a:pt x="3183" y="19"/>
                </a:lnTo>
                <a:lnTo>
                  <a:pt x="3189" y="22"/>
                </a:lnTo>
                <a:lnTo>
                  <a:pt x="3191" y="23"/>
                </a:lnTo>
                <a:lnTo>
                  <a:pt x="3193" y="25"/>
                </a:lnTo>
                <a:lnTo>
                  <a:pt x="3196" y="26"/>
                </a:lnTo>
                <a:lnTo>
                  <a:pt x="3199" y="27"/>
                </a:lnTo>
                <a:lnTo>
                  <a:pt x="3201" y="28"/>
                </a:lnTo>
                <a:lnTo>
                  <a:pt x="3202" y="30"/>
                </a:lnTo>
                <a:lnTo>
                  <a:pt x="3204" y="31"/>
                </a:lnTo>
                <a:lnTo>
                  <a:pt x="3205" y="32"/>
                </a:lnTo>
                <a:lnTo>
                  <a:pt x="3208" y="33"/>
                </a:lnTo>
                <a:lnTo>
                  <a:pt x="3209" y="34"/>
                </a:lnTo>
                <a:lnTo>
                  <a:pt x="3210" y="36"/>
                </a:lnTo>
                <a:lnTo>
                  <a:pt x="3214" y="38"/>
                </a:lnTo>
                <a:lnTo>
                  <a:pt x="3216" y="42"/>
                </a:lnTo>
                <a:lnTo>
                  <a:pt x="3226" y="49"/>
                </a:lnTo>
                <a:lnTo>
                  <a:pt x="3232" y="55"/>
                </a:lnTo>
                <a:lnTo>
                  <a:pt x="3234" y="59"/>
                </a:lnTo>
                <a:lnTo>
                  <a:pt x="3237" y="61"/>
                </a:lnTo>
                <a:lnTo>
                  <a:pt x="3238" y="64"/>
                </a:lnTo>
                <a:lnTo>
                  <a:pt x="3239" y="65"/>
                </a:lnTo>
                <a:lnTo>
                  <a:pt x="3241" y="67"/>
                </a:lnTo>
                <a:lnTo>
                  <a:pt x="3242" y="69"/>
                </a:lnTo>
                <a:lnTo>
                  <a:pt x="3243" y="71"/>
                </a:lnTo>
                <a:lnTo>
                  <a:pt x="3244" y="73"/>
                </a:lnTo>
                <a:lnTo>
                  <a:pt x="3255" y="94"/>
                </a:lnTo>
                <a:lnTo>
                  <a:pt x="3256" y="98"/>
                </a:lnTo>
                <a:lnTo>
                  <a:pt x="3259" y="106"/>
                </a:lnTo>
                <a:lnTo>
                  <a:pt x="3262" y="115"/>
                </a:lnTo>
                <a:lnTo>
                  <a:pt x="3263" y="125"/>
                </a:lnTo>
                <a:lnTo>
                  <a:pt x="3266" y="134"/>
                </a:lnTo>
                <a:lnTo>
                  <a:pt x="3267" y="145"/>
                </a:lnTo>
                <a:lnTo>
                  <a:pt x="3267" y="155"/>
                </a:lnTo>
                <a:lnTo>
                  <a:pt x="3268" y="180"/>
                </a:lnTo>
                <a:lnTo>
                  <a:pt x="3267" y="213"/>
                </a:lnTo>
                <a:lnTo>
                  <a:pt x="3267" y="219"/>
                </a:lnTo>
                <a:lnTo>
                  <a:pt x="3266" y="224"/>
                </a:lnTo>
                <a:lnTo>
                  <a:pt x="3266" y="227"/>
                </a:lnTo>
                <a:lnTo>
                  <a:pt x="3263" y="237"/>
                </a:lnTo>
                <a:lnTo>
                  <a:pt x="3262" y="243"/>
                </a:lnTo>
                <a:lnTo>
                  <a:pt x="3262" y="246"/>
                </a:lnTo>
                <a:lnTo>
                  <a:pt x="3261" y="248"/>
                </a:lnTo>
                <a:lnTo>
                  <a:pt x="3261" y="250"/>
                </a:lnTo>
                <a:lnTo>
                  <a:pt x="3260" y="253"/>
                </a:lnTo>
                <a:lnTo>
                  <a:pt x="3260" y="254"/>
                </a:lnTo>
                <a:lnTo>
                  <a:pt x="3260" y="257"/>
                </a:lnTo>
                <a:lnTo>
                  <a:pt x="3259" y="258"/>
                </a:lnTo>
                <a:lnTo>
                  <a:pt x="3259" y="260"/>
                </a:lnTo>
                <a:lnTo>
                  <a:pt x="3256" y="266"/>
                </a:lnTo>
                <a:lnTo>
                  <a:pt x="3255" y="270"/>
                </a:lnTo>
                <a:lnTo>
                  <a:pt x="3254" y="272"/>
                </a:lnTo>
                <a:lnTo>
                  <a:pt x="3253" y="275"/>
                </a:lnTo>
                <a:lnTo>
                  <a:pt x="3251" y="277"/>
                </a:lnTo>
                <a:lnTo>
                  <a:pt x="3251" y="280"/>
                </a:lnTo>
                <a:lnTo>
                  <a:pt x="3249" y="282"/>
                </a:lnTo>
                <a:lnTo>
                  <a:pt x="3248" y="285"/>
                </a:lnTo>
                <a:lnTo>
                  <a:pt x="3247" y="287"/>
                </a:lnTo>
                <a:lnTo>
                  <a:pt x="3245" y="289"/>
                </a:lnTo>
                <a:lnTo>
                  <a:pt x="3245" y="292"/>
                </a:lnTo>
                <a:lnTo>
                  <a:pt x="3243" y="294"/>
                </a:lnTo>
                <a:lnTo>
                  <a:pt x="3243" y="297"/>
                </a:lnTo>
                <a:lnTo>
                  <a:pt x="3241" y="299"/>
                </a:lnTo>
                <a:lnTo>
                  <a:pt x="3239" y="300"/>
                </a:lnTo>
                <a:lnTo>
                  <a:pt x="3238" y="303"/>
                </a:lnTo>
                <a:lnTo>
                  <a:pt x="3237" y="304"/>
                </a:lnTo>
                <a:lnTo>
                  <a:pt x="3236" y="305"/>
                </a:lnTo>
                <a:lnTo>
                  <a:pt x="3234" y="308"/>
                </a:lnTo>
                <a:lnTo>
                  <a:pt x="3233" y="309"/>
                </a:lnTo>
                <a:lnTo>
                  <a:pt x="3232" y="311"/>
                </a:lnTo>
                <a:lnTo>
                  <a:pt x="3230" y="313"/>
                </a:lnTo>
                <a:lnTo>
                  <a:pt x="3226" y="318"/>
                </a:lnTo>
                <a:lnTo>
                  <a:pt x="3224" y="320"/>
                </a:lnTo>
                <a:lnTo>
                  <a:pt x="3220" y="325"/>
                </a:lnTo>
                <a:lnTo>
                  <a:pt x="3215" y="329"/>
                </a:lnTo>
                <a:lnTo>
                  <a:pt x="3214" y="330"/>
                </a:lnTo>
                <a:lnTo>
                  <a:pt x="3213" y="331"/>
                </a:lnTo>
                <a:lnTo>
                  <a:pt x="3210" y="333"/>
                </a:lnTo>
                <a:lnTo>
                  <a:pt x="3208" y="333"/>
                </a:lnTo>
                <a:lnTo>
                  <a:pt x="3207" y="335"/>
                </a:lnTo>
                <a:lnTo>
                  <a:pt x="3204" y="336"/>
                </a:lnTo>
                <a:lnTo>
                  <a:pt x="3202" y="338"/>
                </a:lnTo>
                <a:lnTo>
                  <a:pt x="3201" y="339"/>
                </a:lnTo>
                <a:lnTo>
                  <a:pt x="3198" y="341"/>
                </a:lnTo>
                <a:lnTo>
                  <a:pt x="3196" y="341"/>
                </a:lnTo>
                <a:lnTo>
                  <a:pt x="3193" y="342"/>
                </a:lnTo>
                <a:lnTo>
                  <a:pt x="3191" y="343"/>
                </a:lnTo>
                <a:lnTo>
                  <a:pt x="3187" y="346"/>
                </a:lnTo>
                <a:lnTo>
                  <a:pt x="3186" y="346"/>
                </a:lnTo>
                <a:lnTo>
                  <a:pt x="3184" y="347"/>
                </a:lnTo>
                <a:lnTo>
                  <a:pt x="3180" y="348"/>
                </a:lnTo>
                <a:lnTo>
                  <a:pt x="3179" y="349"/>
                </a:lnTo>
                <a:lnTo>
                  <a:pt x="3176" y="349"/>
                </a:lnTo>
                <a:lnTo>
                  <a:pt x="3175" y="350"/>
                </a:lnTo>
                <a:lnTo>
                  <a:pt x="3173" y="350"/>
                </a:lnTo>
                <a:lnTo>
                  <a:pt x="3172" y="352"/>
                </a:lnTo>
                <a:lnTo>
                  <a:pt x="3169" y="352"/>
                </a:lnTo>
                <a:lnTo>
                  <a:pt x="3166" y="353"/>
                </a:lnTo>
                <a:lnTo>
                  <a:pt x="3163" y="353"/>
                </a:lnTo>
                <a:lnTo>
                  <a:pt x="3151" y="355"/>
                </a:lnTo>
                <a:lnTo>
                  <a:pt x="3166" y="357"/>
                </a:lnTo>
                <a:lnTo>
                  <a:pt x="3178" y="360"/>
                </a:lnTo>
                <a:lnTo>
                  <a:pt x="3184" y="361"/>
                </a:lnTo>
                <a:lnTo>
                  <a:pt x="3189" y="364"/>
                </a:lnTo>
                <a:lnTo>
                  <a:pt x="3192" y="365"/>
                </a:lnTo>
                <a:lnTo>
                  <a:pt x="3195" y="366"/>
                </a:lnTo>
                <a:lnTo>
                  <a:pt x="3198" y="368"/>
                </a:lnTo>
                <a:lnTo>
                  <a:pt x="3201" y="369"/>
                </a:lnTo>
                <a:lnTo>
                  <a:pt x="3203" y="370"/>
                </a:lnTo>
                <a:lnTo>
                  <a:pt x="3205" y="371"/>
                </a:lnTo>
                <a:lnTo>
                  <a:pt x="3208" y="372"/>
                </a:lnTo>
                <a:lnTo>
                  <a:pt x="3210" y="374"/>
                </a:lnTo>
                <a:lnTo>
                  <a:pt x="3213" y="375"/>
                </a:lnTo>
                <a:lnTo>
                  <a:pt x="3215" y="377"/>
                </a:lnTo>
                <a:lnTo>
                  <a:pt x="3216" y="379"/>
                </a:lnTo>
                <a:lnTo>
                  <a:pt x="3219" y="380"/>
                </a:lnTo>
                <a:lnTo>
                  <a:pt x="3220" y="381"/>
                </a:lnTo>
                <a:lnTo>
                  <a:pt x="3222" y="383"/>
                </a:lnTo>
                <a:lnTo>
                  <a:pt x="3225" y="385"/>
                </a:lnTo>
                <a:lnTo>
                  <a:pt x="3228" y="387"/>
                </a:lnTo>
                <a:lnTo>
                  <a:pt x="3232" y="392"/>
                </a:lnTo>
                <a:lnTo>
                  <a:pt x="3236" y="394"/>
                </a:lnTo>
                <a:lnTo>
                  <a:pt x="3242" y="399"/>
                </a:lnTo>
                <a:lnTo>
                  <a:pt x="3245" y="404"/>
                </a:lnTo>
                <a:lnTo>
                  <a:pt x="3249" y="408"/>
                </a:lnTo>
                <a:lnTo>
                  <a:pt x="3251" y="411"/>
                </a:lnTo>
                <a:lnTo>
                  <a:pt x="3253" y="414"/>
                </a:lnTo>
                <a:lnTo>
                  <a:pt x="3255" y="415"/>
                </a:lnTo>
                <a:lnTo>
                  <a:pt x="3256" y="418"/>
                </a:lnTo>
                <a:lnTo>
                  <a:pt x="3257" y="419"/>
                </a:lnTo>
                <a:lnTo>
                  <a:pt x="3259" y="421"/>
                </a:lnTo>
                <a:lnTo>
                  <a:pt x="3260" y="422"/>
                </a:lnTo>
                <a:lnTo>
                  <a:pt x="3260" y="425"/>
                </a:lnTo>
                <a:lnTo>
                  <a:pt x="3261" y="427"/>
                </a:lnTo>
                <a:lnTo>
                  <a:pt x="3262" y="430"/>
                </a:lnTo>
                <a:lnTo>
                  <a:pt x="3265" y="433"/>
                </a:lnTo>
                <a:lnTo>
                  <a:pt x="3266" y="436"/>
                </a:lnTo>
                <a:lnTo>
                  <a:pt x="3267" y="438"/>
                </a:lnTo>
                <a:lnTo>
                  <a:pt x="3268" y="441"/>
                </a:lnTo>
                <a:lnTo>
                  <a:pt x="3271" y="444"/>
                </a:lnTo>
                <a:lnTo>
                  <a:pt x="3272" y="448"/>
                </a:lnTo>
                <a:lnTo>
                  <a:pt x="3273" y="451"/>
                </a:lnTo>
                <a:lnTo>
                  <a:pt x="3274" y="452"/>
                </a:lnTo>
                <a:lnTo>
                  <a:pt x="3274" y="454"/>
                </a:lnTo>
                <a:lnTo>
                  <a:pt x="3276" y="458"/>
                </a:lnTo>
                <a:lnTo>
                  <a:pt x="3278" y="463"/>
                </a:lnTo>
                <a:lnTo>
                  <a:pt x="3280" y="471"/>
                </a:lnTo>
                <a:lnTo>
                  <a:pt x="3282" y="473"/>
                </a:lnTo>
                <a:lnTo>
                  <a:pt x="3282" y="475"/>
                </a:lnTo>
                <a:lnTo>
                  <a:pt x="3283" y="479"/>
                </a:lnTo>
                <a:lnTo>
                  <a:pt x="3284" y="481"/>
                </a:lnTo>
                <a:lnTo>
                  <a:pt x="3288" y="497"/>
                </a:lnTo>
                <a:lnTo>
                  <a:pt x="3289" y="508"/>
                </a:lnTo>
                <a:lnTo>
                  <a:pt x="3289" y="513"/>
                </a:lnTo>
                <a:lnTo>
                  <a:pt x="3290" y="519"/>
                </a:lnTo>
                <a:lnTo>
                  <a:pt x="3290" y="526"/>
                </a:lnTo>
                <a:lnTo>
                  <a:pt x="3291" y="532"/>
                </a:lnTo>
                <a:lnTo>
                  <a:pt x="3291" y="538"/>
                </a:lnTo>
                <a:lnTo>
                  <a:pt x="3291" y="560"/>
                </a:lnTo>
                <a:lnTo>
                  <a:pt x="3291" y="587"/>
                </a:lnTo>
                <a:lnTo>
                  <a:pt x="3291" y="593"/>
                </a:lnTo>
                <a:lnTo>
                  <a:pt x="3290" y="601"/>
                </a:lnTo>
                <a:lnTo>
                  <a:pt x="3290" y="608"/>
                </a:lnTo>
                <a:lnTo>
                  <a:pt x="3289" y="624"/>
                </a:lnTo>
                <a:lnTo>
                  <a:pt x="3286" y="634"/>
                </a:lnTo>
                <a:lnTo>
                  <a:pt x="3286" y="636"/>
                </a:lnTo>
                <a:lnTo>
                  <a:pt x="3286" y="640"/>
                </a:lnTo>
                <a:lnTo>
                  <a:pt x="3285" y="642"/>
                </a:lnTo>
                <a:lnTo>
                  <a:pt x="3285" y="645"/>
                </a:lnTo>
                <a:lnTo>
                  <a:pt x="3284" y="647"/>
                </a:lnTo>
                <a:lnTo>
                  <a:pt x="3284" y="648"/>
                </a:lnTo>
                <a:lnTo>
                  <a:pt x="3283" y="651"/>
                </a:lnTo>
                <a:lnTo>
                  <a:pt x="3283" y="653"/>
                </a:lnTo>
                <a:lnTo>
                  <a:pt x="3282" y="656"/>
                </a:lnTo>
                <a:lnTo>
                  <a:pt x="3274" y="676"/>
                </a:lnTo>
                <a:lnTo>
                  <a:pt x="3270" y="685"/>
                </a:lnTo>
                <a:lnTo>
                  <a:pt x="3265" y="695"/>
                </a:lnTo>
                <a:lnTo>
                  <a:pt x="3263" y="698"/>
                </a:lnTo>
                <a:lnTo>
                  <a:pt x="3261" y="702"/>
                </a:lnTo>
                <a:lnTo>
                  <a:pt x="3260" y="704"/>
                </a:lnTo>
                <a:lnTo>
                  <a:pt x="3259" y="707"/>
                </a:lnTo>
                <a:lnTo>
                  <a:pt x="3257" y="708"/>
                </a:lnTo>
                <a:lnTo>
                  <a:pt x="3256" y="710"/>
                </a:lnTo>
                <a:lnTo>
                  <a:pt x="3255" y="712"/>
                </a:lnTo>
                <a:lnTo>
                  <a:pt x="3254" y="713"/>
                </a:lnTo>
                <a:lnTo>
                  <a:pt x="3251" y="715"/>
                </a:lnTo>
                <a:lnTo>
                  <a:pt x="3250" y="718"/>
                </a:lnTo>
                <a:lnTo>
                  <a:pt x="3248" y="721"/>
                </a:lnTo>
                <a:lnTo>
                  <a:pt x="3245" y="723"/>
                </a:lnTo>
                <a:lnTo>
                  <a:pt x="3245" y="725"/>
                </a:lnTo>
                <a:lnTo>
                  <a:pt x="3242" y="729"/>
                </a:lnTo>
                <a:lnTo>
                  <a:pt x="3238" y="732"/>
                </a:lnTo>
                <a:lnTo>
                  <a:pt x="3228" y="743"/>
                </a:lnTo>
                <a:lnTo>
                  <a:pt x="3224" y="747"/>
                </a:lnTo>
                <a:lnTo>
                  <a:pt x="3222" y="748"/>
                </a:lnTo>
                <a:lnTo>
                  <a:pt x="3220" y="750"/>
                </a:lnTo>
                <a:lnTo>
                  <a:pt x="3218" y="751"/>
                </a:lnTo>
                <a:lnTo>
                  <a:pt x="3216" y="753"/>
                </a:lnTo>
                <a:lnTo>
                  <a:pt x="3214" y="754"/>
                </a:lnTo>
                <a:lnTo>
                  <a:pt x="3212" y="757"/>
                </a:lnTo>
                <a:lnTo>
                  <a:pt x="3209" y="758"/>
                </a:lnTo>
                <a:lnTo>
                  <a:pt x="3208" y="759"/>
                </a:lnTo>
                <a:lnTo>
                  <a:pt x="3205" y="761"/>
                </a:lnTo>
                <a:lnTo>
                  <a:pt x="3204" y="762"/>
                </a:lnTo>
                <a:lnTo>
                  <a:pt x="3202" y="762"/>
                </a:lnTo>
                <a:lnTo>
                  <a:pt x="3201" y="763"/>
                </a:lnTo>
                <a:lnTo>
                  <a:pt x="3198" y="765"/>
                </a:lnTo>
                <a:lnTo>
                  <a:pt x="3195" y="765"/>
                </a:lnTo>
                <a:lnTo>
                  <a:pt x="3193" y="767"/>
                </a:lnTo>
                <a:lnTo>
                  <a:pt x="3191" y="768"/>
                </a:lnTo>
                <a:lnTo>
                  <a:pt x="3189" y="769"/>
                </a:lnTo>
                <a:lnTo>
                  <a:pt x="3186" y="770"/>
                </a:lnTo>
                <a:lnTo>
                  <a:pt x="3184" y="772"/>
                </a:lnTo>
                <a:lnTo>
                  <a:pt x="3180" y="774"/>
                </a:lnTo>
                <a:lnTo>
                  <a:pt x="3179" y="774"/>
                </a:lnTo>
                <a:lnTo>
                  <a:pt x="3176" y="775"/>
                </a:lnTo>
                <a:lnTo>
                  <a:pt x="3174" y="776"/>
                </a:lnTo>
                <a:lnTo>
                  <a:pt x="3172" y="778"/>
                </a:lnTo>
                <a:lnTo>
                  <a:pt x="3151" y="785"/>
                </a:lnTo>
                <a:lnTo>
                  <a:pt x="3146" y="785"/>
                </a:lnTo>
                <a:lnTo>
                  <a:pt x="3144" y="786"/>
                </a:lnTo>
                <a:lnTo>
                  <a:pt x="3143" y="786"/>
                </a:lnTo>
                <a:lnTo>
                  <a:pt x="3140" y="787"/>
                </a:lnTo>
                <a:lnTo>
                  <a:pt x="3134" y="789"/>
                </a:lnTo>
                <a:lnTo>
                  <a:pt x="3131" y="789"/>
                </a:lnTo>
                <a:lnTo>
                  <a:pt x="3128" y="790"/>
                </a:lnTo>
                <a:lnTo>
                  <a:pt x="3124" y="790"/>
                </a:lnTo>
                <a:lnTo>
                  <a:pt x="3121" y="791"/>
                </a:lnTo>
                <a:lnTo>
                  <a:pt x="3116" y="791"/>
                </a:lnTo>
                <a:lnTo>
                  <a:pt x="3111" y="792"/>
                </a:lnTo>
                <a:lnTo>
                  <a:pt x="3105" y="792"/>
                </a:lnTo>
                <a:lnTo>
                  <a:pt x="3099" y="793"/>
                </a:lnTo>
                <a:lnTo>
                  <a:pt x="3093" y="793"/>
                </a:lnTo>
                <a:lnTo>
                  <a:pt x="3088" y="793"/>
                </a:lnTo>
                <a:lnTo>
                  <a:pt x="3082" y="793"/>
                </a:lnTo>
                <a:lnTo>
                  <a:pt x="3071" y="793"/>
                </a:lnTo>
                <a:lnTo>
                  <a:pt x="3029" y="793"/>
                </a:lnTo>
                <a:lnTo>
                  <a:pt x="2826" y="793"/>
                </a:lnTo>
                <a:lnTo>
                  <a:pt x="2826" y="0"/>
                </a:lnTo>
                <a:close/>
                <a:moveTo>
                  <a:pt x="2491" y="0"/>
                </a:moveTo>
                <a:lnTo>
                  <a:pt x="2685" y="0"/>
                </a:lnTo>
                <a:lnTo>
                  <a:pt x="2685" y="793"/>
                </a:lnTo>
                <a:lnTo>
                  <a:pt x="2681" y="793"/>
                </a:lnTo>
                <a:lnTo>
                  <a:pt x="2676" y="793"/>
                </a:lnTo>
                <a:lnTo>
                  <a:pt x="2666" y="793"/>
                </a:lnTo>
                <a:lnTo>
                  <a:pt x="2628" y="793"/>
                </a:lnTo>
                <a:lnTo>
                  <a:pt x="2498" y="793"/>
                </a:lnTo>
                <a:lnTo>
                  <a:pt x="2496" y="786"/>
                </a:lnTo>
                <a:lnTo>
                  <a:pt x="2495" y="781"/>
                </a:lnTo>
                <a:lnTo>
                  <a:pt x="2495" y="780"/>
                </a:lnTo>
                <a:lnTo>
                  <a:pt x="2494" y="778"/>
                </a:lnTo>
                <a:lnTo>
                  <a:pt x="2494" y="775"/>
                </a:lnTo>
                <a:lnTo>
                  <a:pt x="2492" y="770"/>
                </a:lnTo>
                <a:lnTo>
                  <a:pt x="2491" y="768"/>
                </a:lnTo>
                <a:lnTo>
                  <a:pt x="2491" y="765"/>
                </a:lnTo>
                <a:lnTo>
                  <a:pt x="2491" y="764"/>
                </a:lnTo>
                <a:lnTo>
                  <a:pt x="2490" y="761"/>
                </a:lnTo>
                <a:lnTo>
                  <a:pt x="2485" y="763"/>
                </a:lnTo>
                <a:lnTo>
                  <a:pt x="2484" y="764"/>
                </a:lnTo>
                <a:lnTo>
                  <a:pt x="2483" y="765"/>
                </a:lnTo>
                <a:lnTo>
                  <a:pt x="2480" y="767"/>
                </a:lnTo>
                <a:lnTo>
                  <a:pt x="2479" y="767"/>
                </a:lnTo>
                <a:lnTo>
                  <a:pt x="2477" y="769"/>
                </a:lnTo>
                <a:lnTo>
                  <a:pt x="2475" y="770"/>
                </a:lnTo>
                <a:lnTo>
                  <a:pt x="2474" y="772"/>
                </a:lnTo>
                <a:lnTo>
                  <a:pt x="2472" y="772"/>
                </a:lnTo>
                <a:lnTo>
                  <a:pt x="2468" y="774"/>
                </a:lnTo>
                <a:lnTo>
                  <a:pt x="2465" y="776"/>
                </a:lnTo>
                <a:lnTo>
                  <a:pt x="2462" y="778"/>
                </a:lnTo>
                <a:lnTo>
                  <a:pt x="2461" y="779"/>
                </a:lnTo>
                <a:lnTo>
                  <a:pt x="2459" y="780"/>
                </a:lnTo>
                <a:lnTo>
                  <a:pt x="2455" y="781"/>
                </a:lnTo>
                <a:lnTo>
                  <a:pt x="2452" y="782"/>
                </a:lnTo>
                <a:lnTo>
                  <a:pt x="2449" y="784"/>
                </a:lnTo>
                <a:lnTo>
                  <a:pt x="2448" y="785"/>
                </a:lnTo>
                <a:lnTo>
                  <a:pt x="2443" y="787"/>
                </a:lnTo>
                <a:lnTo>
                  <a:pt x="2442" y="787"/>
                </a:lnTo>
                <a:lnTo>
                  <a:pt x="2438" y="789"/>
                </a:lnTo>
                <a:lnTo>
                  <a:pt x="2436" y="790"/>
                </a:lnTo>
                <a:lnTo>
                  <a:pt x="2433" y="791"/>
                </a:lnTo>
                <a:lnTo>
                  <a:pt x="2428" y="793"/>
                </a:lnTo>
                <a:lnTo>
                  <a:pt x="2426" y="793"/>
                </a:lnTo>
                <a:lnTo>
                  <a:pt x="2425" y="795"/>
                </a:lnTo>
                <a:lnTo>
                  <a:pt x="2422" y="795"/>
                </a:lnTo>
                <a:lnTo>
                  <a:pt x="2421" y="795"/>
                </a:lnTo>
                <a:lnTo>
                  <a:pt x="2419" y="796"/>
                </a:lnTo>
                <a:lnTo>
                  <a:pt x="2417" y="796"/>
                </a:lnTo>
                <a:lnTo>
                  <a:pt x="2415" y="797"/>
                </a:lnTo>
                <a:lnTo>
                  <a:pt x="2413" y="797"/>
                </a:lnTo>
                <a:lnTo>
                  <a:pt x="2410" y="798"/>
                </a:lnTo>
                <a:lnTo>
                  <a:pt x="2408" y="798"/>
                </a:lnTo>
                <a:lnTo>
                  <a:pt x="2405" y="800"/>
                </a:lnTo>
                <a:lnTo>
                  <a:pt x="2403" y="800"/>
                </a:lnTo>
                <a:lnTo>
                  <a:pt x="2393" y="802"/>
                </a:lnTo>
                <a:lnTo>
                  <a:pt x="2382" y="803"/>
                </a:lnTo>
                <a:lnTo>
                  <a:pt x="2378" y="803"/>
                </a:lnTo>
                <a:lnTo>
                  <a:pt x="2370" y="804"/>
                </a:lnTo>
                <a:lnTo>
                  <a:pt x="2364" y="803"/>
                </a:lnTo>
                <a:lnTo>
                  <a:pt x="2359" y="803"/>
                </a:lnTo>
                <a:lnTo>
                  <a:pt x="2352" y="803"/>
                </a:lnTo>
                <a:lnTo>
                  <a:pt x="2334" y="800"/>
                </a:lnTo>
                <a:lnTo>
                  <a:pt x="2330" y="798"/>
                </a:lnTo>
                <a:lnTo>
                  <a:pt x="2326" y="797"/>
                </a:lnTo>
                <a:lnTo>
                  <a:pt x="2324" y="797"/>
                </a:lnTo>
                <a:lnTo>
                  <a:pt x="2322" y="796"/>
                </a:lnTo>
                <a:lnTo>
                  <a:pt x="2321" y="796"/>
                </a:lnTo>
                <a:lnTo>
                  <a:pt x="2317" y="795"/>
                </a:lnTo>
                <a:lnTo>
                  <a:pt x="2315" y="793"/>
                </a:lnTo>
                <a:lnTo>
                  <a:pt x="2311" y="792"/>
                </a:lnTo>
                <a:lnTo>
                  <a:pt x="2309" y="791"/>
                </a:lnTo>
                <a:lnTo>
                  <a:pt x="2306" y="790"/>
                </a:lnTo>
                <a:lnTo>
                  <a:pt x="2304" y="789"/>
                </a:lnTo>
                <a:lnTo>
                  <a:pt x="2301" y="786"/>
                </a:lnTo>
                <a:lnTo>
                  <a:pt x="2300" y="785"/>
                </a:lnTo>
                <a:lnTo>
                  <a:pt x="2298" y="784"/>
                </a:lnTo>
                <a:lnTo>
                  <a:pt x="2297" y="782"/>
                </a:lnTo>
                <a:lnTo>
                  <a:pt x="2295" y="781"/>
                </a:lnTo>
                <a:lnTo>
                  <a:pt x="2292" y="779"/>
                </a:lnTo>
                <a:lnTo>
                  <a:pt x="2287" y="774"/>
                </a:lnTo>
                <a:lnTo>
                  <a:pt x="2286" y="773"/>
                </a:lnTo>
                <a:lnTo>
                  <a:pt x="2282" y="770"/>
                </a:lnTo>
                <a:lnTo>
                  <a:pt x="2277" y="765"/>
                </a:lnTo>
                <a:lnTo>
                  <a:pt x="2275" y="763"/>
                </a:lnTo>
                <a:lnTo>
                  <a:pt x="2274" y="759"/>
                </a:lnTo>
                <a:lnTo>
                  <a:pt x="2272" y="758"/>
                </a:lnTo>
                <a:lnTo>
                  <a:pt x="2271" y="756"/>
                </a:lnTo>
                <a:lnTo>
                  <a:pt x="2270" y="754"/>
                </a:lnTo>
                <a:lnTo>
                  <a:pt x="2269" y="752"/>
                </a:lnTo>
                <a:lnTo>
                  <a:pt x="2268" y="751"/>
                </a:lnTo>
                <a:lnTo>
                  <a:pt x="2266" y="748"/>
                </a:lnTo>
                <a:lnTo>
                  <a:pt x="2265" y="746"/>
                </a:lnTo>
                <a:lnTo>
                  <a:pt x="2264" y="743"/>
                </a:lnTo>
                <a:lnTo>
                  <a:pt x="2263" y="741"/>
                </a:lnTo>
                <a:lnTo>
                  <a:pt x="2261" y="739"/>
                </a:lnTo>
                <a:lnTo>
                  <a:pt x="2260" y="736"/>
                </a:lnTo>
                <a:lnTo>
                  <a:pt x="2259" y="734"/>
                </a:lnTo>
                <a:lnTo>
                  <a:pt x="2258" y="730"/>
                </a:lnTo>
                <a:lnTo>
                  <a:pt x="2257" y="728"/>
                </a:lnTo>
                <a:lnTo>
                  <a:pt x="2254" y="723"/>
                </a:lnTo>
                <a:lnTo>
                  <a:pt x="2254" y="721"/>
                </a:lnTo>
                <a:lnTo>
                  <a:pt x="2253" y="719"/>
                </a:lnTo>
                <a:lnTo>
                  <a:pt x="2252" y="717"/>
                </a:lnTo>
                <a:lnTo>
                  <a:pt x="2252" y="715"/>
                </a:lnTo>
                <a:lnTo>
                  <a:pt x="2251" y="713"/>
                </a:lnTo>
                <a:lnTo>
                  <a:pt x="2251" y="712"/>
                </a:lnTo>
                <a:lnTo>
                  <a:pt x="2249" y="709"/>
                </a:lnTo>
                <a:lnTo>
                  <a:pt x="2249" y="708"/>
                </a:lnTo>
                <a:lnTo>
                  <a:pt x="2248" y="707"/>
                </a:lnTo>
                <a:lnTo>
                  <a:pt x="2248" y="704"/>
                </a:lnTo>
                <a:lnTo>
                  <a:pt x="2247" y="702"/>
                </a:lnTo>
                <a:lnTo>
                  <a:pt x="2247" y="700"/>
                </a:lnTo>
                <a:lnTo>
                  <a:pt x="2246" y="698"/>
                </a:lnTo>
                <a:lnTo>
                  <a:pt x="2246" y="696"/>
                </a:lnTo>
                <a:lnTo>
                  <a:pt x="2245" y="693"/>
                </a:lnTo>
                <a:lnTo>
                  <a:pt x="2245" y="691"/>
                </a:lnTo>
                <a:lnTo>
                  <a:pt x="2245" y="689"/>
                </a:lnTo>
                <a:lnTo>
                  <a:pt x="2243" y="686"/>
                </a:lnTo>
                <a:lnTo>
                  <a:pt x="2243" y="684"/>
                </a:lnTo>
                <a:lnTo>
                  <a:pt x="2242" y="681"/>
                </a:lnTo>
                <a:lnTo>
                  <a:pt x="2242" y="678"/>
                </a:lnTo>
                <a:lnTo>
                  <a:pt x="2241" y="675"/>
                </a:lnTo>
                <a:lnTo>
                  <a:pt x="2239" y="665"/>
                </a:lnTo>
                <a:lnTo>
                  <a:pt x="2237" y="649"/>
                </a:lnTo>
                <a:lnTo>
                  <a:pt x="2236" y="646"/>
                </a:lnTo>
                <a:lnTo>
                  <a:pt x="2236" y="641"/>
                </a:lnTo>
                <a:lnTo>
                  <a:pt x="2235" y="636"/>
                </a:lnTo>
                <a:lnTo>
                  <a:pt x="2235" y="630"/>
                </a:lnTo>
                <a:lnTo>
                  <a:pt x="2234" y="624"/>
                </a:lnTo>
                <a:lnTo>
                  <a:pt x="2234" y="618"/>
                </a:lnTo>
                <a:lnTo>
                  <a:pt x="2232" y="609"/>
                </a:lnTo>
                <a:lnTo>
                  <a:pt x="2231" y="588"/>
                </a:lnTo>
                <a:lnTo>
                  <a:pt x="2231" y="569"/>
                </a:lnTo>
                <a:lnTo>
                  <a:pt x="2230" y="540"/>
                </a:lnTo>
                <a:lnTo>
                  <a:pt x="2230" y="440"/>
                </a:lnTo>
                <a:lnTo>
                  <a:pt x="2230" y="393"/>
                </a:lnTo>
                <a:lnTo>
                  <a:pt x="2230" y="381"/>
                </a:lnTo>
                <a:lnTo>
                  <a:pt x="2230" y="376"/>
                </a:lnTo>
                <a:lnTo>
                  <a:pt x="2231" y="372"/>
                </a:lnTo>
                <a:lnTo>
                  <a:pt x="2231" y="370"/>
                </a:lnTo>
                <a:lnTo>
                  <a:pt x="2231" y="358"/>
                </a:lnTo>
                <a:lnTo>
                  <a:pt x="2231" y="338"/>
                </a:lnTo>
                <a:lnTo>
                  <a:pt x="2232" y="327"/>
                </a:lnTo>
                <a:lnTo>
                  <a:pt x="2232" y="320"/>
                </a:lnTo>
                <a:lnTo>
                  <a:pt x="2234" y="313"/>
                </a:lnTo>
                <a:lnTo>
                  <a:pt x="2234" y="307"/>
                </a:lnTo>
                <a:lnTo>
                  <a:pt x="2235" y="302"/>
                </a:lnTo>
                <a:lnTo>
                  <a:pt x="2236" y="296"/>
                </a:lnTo>
                <a:lnTo>
                  <a:pt x="2236" y="291"/>
                </a:lnTo>
                <a:lnTo>
                  <a:pt x="2237" y="286"/>
                </a:lnTo>
                <a:lnTo>
                  <a:pt x="2237" y="277"/>
                </a:lnTo>
                <a:lnTo>
                  <a:pt x="2240" y="265"/>
                </a:lnTo>
                <a:lnTo>
                  <a:pt x="2241" y="259"/>
                </a:lnTo>
                <a:lnTo>
                  <a:pt x="2242" y="254"/>
                </a:lnTo>
                <a:lnTo>
                  <a:pt x="2243" y="248"/>
                </a:lnTo>
                <a:lnTo>
                  <a:pt x="2245" y="238"/>
                </a:lnTo>
                <a:lnTo>
                  <a:pt x="2247" y="232"/>
                </a:lnTo>
                <a:lnTo>
                  <a:pt x="2248" y="227"/>
                </a:lnTo>
                <a:lnTo>
                  <a:pt x="2248" y="226"/>
                </a:lnTo>
                <a:lnTo>
                  <a:pt x="2249" y="224"/>
                </a:lnTo>
                <a:lnTo>
                  <a:pt x="2249" y="222"/>
                </a:lnTo>
                <a:lnTo>
                  <a:pt x="2251" y="221"/>
                </a:lnTo>
                <a:lnTo>
                  <a:pt x="2251" y="219"/>
                </a:lnTo>
                <a:lnTo>
                  <a:pt x="2252" y="217"/>
                </a:lnTo>
                <a:lnTo>
                  <a:pt x="2252" y="215"/>
                </a:lnTo>
                <a:lnTo>
                  <a:pt x="2253" y="214"/>
                </a:lnTo>
                <a:lnTo>
                  <a:pt x="2253" y="211"/>
                </a:lnTo>
                <a:lnTo>
                  <a:pt x="2254" y="209"/>
                </a:lnTo>
                <a:lnTo>
                  <a:pt x="2255" y="206"/>
                </a:lnTo>
                <a:lnTo>
                  <a:pt x="2257" y="203"/>
                </a:lnTo>
                <a:lnTo>
                  <a:pt x="2258" y="200"/>
                </a:lnTo>
                <a:lnTo>
                  <a:pt x="2259" y="198"/>
                </a:lnTo>
                <a:lnTo>
                  <a:pt x="2260" y="194"/>
                </a:lnTo>
                <a:lnTo>
                  <a:pt x="2263" y="189"/>
                </a:lnTo>
                <a:lnTo>
                  <a:pt x="2265" y="186"/>
                </a:lnTo>
                <a:lnTo>
                  <a:pt x="2268" y="182"/>
                </a:lnTo>
                <a:lnTo>
                  <a:pt x="2269" y="181"/>
                </a:lnTo>
                <a:lnTo>
                  <a:pt x="2270" y="180"/>
                </a:lnTo>
                <a:lnTo>
                  <a:pt x="2271" y="177"/>
                </a:lnTo>
                <a:lnTo>
                  <a:pt x="2272" y="176"/>
                </a:lnTo>
                <a:lnTo>
                  <a:pt x="2274" y="174"/>
                </a:lnTo>
                <a:lnTo>
                  <a:pt x="2275" y="172"/>
                </a:lnTo>
                <a:lnTo>
                  <a:pt x="2277" y="170"/>
                </a:lnTo>
                <a:lnTo>
                  <a:pt x="2281" y="165"/>
                </a:lnTo>
                <a:lnTo>
                  <a:pt x="2286" y="160"/>
                </a:lnTo>
                <a:lnTo>
                  <a:pt x="2288" y="158"/>
                </a:lnTo>
                <a:lnTo>
                  <a:pt x="2292" y="154"/>
                </a:lnTo>
                <a:lnTo>
                  <a:pt x="2293" y="153"/>
                </a:lnTo>
                <a:lnTo>
                  <a:pt x="2294" y="152"/>
                </a:lnTo>
                <a:lnTo>
                  <a:pt x="2297" y="150"/>
                </a:lnTo>
                <a:lnTo>
                  <a:pt x="2299" y="149"/>
                </a:lnTo>
                <a:lnTo>
                  <a:pt x="2300" y="148"/>
                </a:lnTo>
                <a:lnTo>
                  <a:pt x="2303" y="147"/>
                </a:lnTo>
                <a:lnTo>
                  <a:pt x="2304" y="145"/>
                </a:lnTo>
                <a:lnTo>
                  <a:pt x="2309" y="143"/>
                </a:lnTo>
                <a:lnTo>
                  <a:pt x="2311" y="142"/>
                </a:lnTo>
                <a:lnTo>
                  <a:pt x="2316" y="139"/>
                </a:lnTo>
                <a:lnTo>
                  <a:pt x="2317" y="139"/>
                </a:lnTo>
                <a:lnTo>
                  <a:pt x="2320" y="138"/>
                </a:lnTo>
                <a:lnTo>
                  <a:pt x="2324" y="136"/>
                </a:lnTo>
                <a:lnTo>
                  <a:pt x="2327" y="136"/>
                </a:lnTo>
                <a:lnTo>
                  <a:pt x="2328" y="136"/>
                </a:lnTo>
                <a:lnTo>
                  <a:pt x="2332" y="134"/>
                </a:lnTo>
                <a:lnTo>
                  <a:pt x="2336" y="133"/>
                </a:lnTo>
                <a:lnTo>
                  <a:pt x="2346" y="131"/>
                </a:lnTo>
                <a:lnTo>
                  <a:pt x="2350" y="131"/>
                </a:lnTo>
                <a:lnTo>
                  <a:pt x="2353" y="130"/>
                </a:lnTo>
                <a:lnTo>
                  <a:pt x="2359" y="130"/>
                </a:lnTo>
                <a:lnTo>
                  <a:pt x="2367" y="128"/>
                </a:lnTo>
                <a:lnTo>
                  <a:pt x="2371" y="128"/>
                </a:lnTo>
                <a:lnTo>
                  <a:pt x="2379" y="127"/>
                </a:lnTo>
                <a:lnTo>
                  <a:pt x="2385" y="128"/>
                </a:lnTo>
                <a:lnTo>
                  <a:pt x="2390" y="128"/>
                </a:lnTo>
                <a:lnTo>
                  <a:pt x="2397" y="128"/>
                </a:lnTo>
                <a:lnTo>
                  <a:pt x="2400" y="130"/>
                </a:lnTo>
                <a:lnTo>
                  <a:pt x="2404" y="130"/>
                </a:lnTo>
                <a:lnTo>
                  <a:pt x="2408" y="131"/>
                </a:lnTo>
                <a:lnTo>
                  <a:pt x="2410" y="131"/>
                </a:lnTo>
                <a:lnTo>
                  <a:pt x="2414" y="132"/>
                </a:lnTo>
                <a:lnTo>
                  <a:pt x="2416" y="132"/>
                </a:lnTo>
                <a:lnTo>
                  <a:pt x="2419" y="133"/>
                </a:lnTo>
                <a:lnTo>
                  <a:pt x="2420" y="133"/>
                </a:lnTo>
                <a:lnTo>
                  <a:pt x="2425" y="134"/>
                </a:lnTo>
                <a:lnTo>
                  <a:pt x="2426" y="136"/>
                </a:lnTo>
                <a:lnTo>
                  <a:pt x="2428" y="136"/>
                </a:lnTo>
                <a:lnTo>
                  <a:pt x="2429" y="136"/>
                </a:lnTo>
                <a:lnTo>
                  <a:pt x="2432" y="137"/>
                </a:lnTo>
                <a:lnTo>
                  <a:pt x="2437" y="138"/>
                </a:lnTo>
                <a:lnTo>
                  <a:pt x="2439" y="139"/>
                </a:lnTo>
                <a:lnTo>
                  <a:pt x="2443" y="141"/>
                </a:lnTo>
                <a:lnTo>
                  <a:pt x="2445" y="142"/>
                </a:lnTo>
                <a:lnTo>
                  <a:pt x="2448" y="143"/>
                </a:lnTo>
                <a:lnTo>
                  <a:pt x="2450" y="144"/>
                </a:lnTo>
                <a:lnTo>
                  <a:pt x="2454" y="147"/>
                </a:lnTo>
                <a:lnTo>
                  <a:pt x="2456" y="148"/>
                </a:lnTo>
                <a:lnTo>
                  <a:pt x="2459" y="149"/>
                </a:lnTo>
                <a:lnTo>
                  <a:pt x="2461" y="150"/>
                </a:lnTo>
                <a:lnTo>
                  <a:pt x="2462" y="150"/>
                </a:lnTo>
                <a:lnTo>
                  <a:pt x="2465" y="152"/>
                </a:lnTo>
                <a:lnTo>
                  <a:pt x="2467" y="154"/>
                </a:lnTo>
                <a:lnTo>
                  <a:pt x="2469" y="154"/>
                </a:lnTo>
                <a:lnTo>
                  <a:pt x="2472" y="156"/>
                </a:lnTo>
                <a:lnTo>
                  <a:pt x="2475" y="158"/>
                </a:lnTo>
                <a:lnTo>
                  <a:pt x="2477" y="159"/>
                </a:lnTo>
                <a:lnTo>
                  <a:pt x="2478" y="160"/>
                </a:lnTo>
                <a:lnTo>
                  <a:pt x="2480" y="161"/>
                </a:lnTo>
                <a:lnTo>
                  <a:pt x="2481" y="163"/>
                </a:lnTo>
                <a:lnTo>
                  <a:pt x="2484" y="164"/>
                </a:lnTo>
                <a:lnTo>
                  <a:pt x="2485" y="165"/>
                </a:lnTo>
                <a:lnTo>
                  <a:pt x="2488" y="166"/>
                </a:lnTo>
                <a:lnTo>
                  <a:pt x="2490" y="167"/>
                </a:lnTo>
                <a:lnTo>
                  <a:pt x="2491" y="169"/>
                </a:lnTo>
                <a:lnTo>
                  <a:pt x="2491" y="0"/>
                </a:lnTo>
                <a:close/>
                <a:moveTo>
                  <a:pt x="1017" y="0"/>
                </a:moveTo>
                <a:lnTo>
                  <a:pt x="1211" y="0"/>
                </a:lnTo>
                <a:lnTo>
                  <a:pt x="1211" y="793"/>
                </a:lnTo>
                <a:lnTo>
                  <a:pt x="1206" y="793"/>
                </a:lnTo>
                <a:lnTo>
                  <a:pt x="1201" y="793"/>
                </a:lnTo>
                <a:lnTo>
                  <a:pt x="1192" y="793"/>
                </a:lnTo>
                <a:lnTo>
                  <a:pt x="1153" y="793"/>
                </a:lnTo>
                <a:lnTo>
                  <a:pt x="1018" y="793"/>
                </a:lnTo>
                <a:lnTo>
                  <a:pt x="1017" y="789"/>
                </a:lnTo>
                <a:lnTo>
                  <a:pt x="1017" y="782"/>
                </a:lnTo>
                <a:lnTo>
                  <a:pt x="1017" y="772"/>
                </a:lnTo>
                <a:lnTo>
                  <a:pt x="1017" y="723"/>
                </a:lnTo>
                <a:lnTo>
                  <a:pt x="1017" y="558"/>
                </a:lnTo>
                <a:lnTo>
                  <a:pt x="1017" y="0"/>
                </a:lnTo>
                <a:close/>
                <a:moveTo>
                  <a:pt x="12" y="0"/>
                </a:moveTo>
                <a:lnTo>
                  <a:pt x="216" y="0"/>
                </a:lnTo>
                <a:lnTo>
                  <a:pt x="278" y="0"/>
                </a:lnTo>
                <a:lnTo>
                  <a:pt x="307" y="0"/>
                </a:lnTo>
                <a:lnTo>
                  <a:pt x="317" y="1"/>
                </a:lnTo>
                <a:lnTo>
                  <a:pt x="324" y="1"/>
                </a:lnTo>
                <a:lnTo>
                  <a:pt x="330" y="3"/>
                </a:lnTo>
                <a:lnTo>
                  <a:pt x="335" y="3"/>
                </a:lnTo>
                <a:lnTo>
                  <a:pt x="340" y="4"/>
                </a:lnTo>
                <a:lnTo>
                  <a:pt x="343" y="4"/>
                </a:lnTo>
                <a:lnTo>
                  <a:pt x="349" y="5"/>
                </a:lnTo>
                <a:lnTo>
                  <a:pt x="355" y="6"/>
                </a:lnTo>
                <a:lnTo>
                  <a:pt x="359" y="6"/>
                </a:lnTo>
                <a:lnTo>
                  <a:pt x="360" y="8"/>
                </a:lnTo>
                <a:lnTo>
                  <a:pt x="363" y="8"/>
                </a:lnTo>
                <a:lnTo>
                  <a:pt x="365" y="9"/>
                </a:lnTo>
                <a:lnTo>
                  <a:pt x="367" y="9"/>
                </a:lnTo>
                <a:lnTo>
                  <a:pt x="388" y="16"/>
                </a:lnTo>
                <a:lnTo>
                  <a:pt x="390" y="17"/>
                </a:lnTo>
                <a:lnTo>
                  <a:pt x="394" y="19"/>
                </a:lnTo>
                <a:lnTo>
                  <a:pt x="396" y="20"/>
                </a:lnTo>
                <a:lnTo>
                  <a:pt x="399" y="21"/>
                </a:lnTo>
                <a:lnTo>
                  <a:pt x="401" y="22"/>
                </a:lnTo>
                <a:lnTo>
                  <a:pt x="402" y="25"/>
                </a:lnTo>
                <a:lnTo>
                  <a:pt x="406" y="26"/>
                </a:lnTo>
                <a:lnTo>
                  <a:pt x="409" y="27"/>
                </a:lnTo>
                <a:lnTo>
                  <a:pt x="410" y="28"/>
                </a:lnTo>
                <a:lnTo>
                  <a:pt x="412" y="30"/>
                </a:lnTo>
                <a:lnTo>
                  <a:pt x="413" y="31"/>
                </a:lnTo>
                <a:lnTo>
                  <a:pt x="416" y="32"/>
                </a:lnTo>
                <a:lnTo>
                  <a:pt x="417" y="33"/>
                </a:lnTo>
                <a:lnTo>
                  <a:pt x="418" y="34"/>
                </a:lnTo>
                <a:lnTo>
                  <a:pt x="421" y="36"/>
                </a:lnTo>
                <a:lnTo>
                  <a:pt x="423" y="38"/>
                </a:lnTo>
                <a:lnTo>
                  <a:pt x="429" y="44"/>
                </a:lnTo>
                <a:lnTo>
                  <a:pt x="434" y="49"/>
                </a:lnTo>
                <a:lnTo>
                  <a:pt x="438" y="53"/>
                </a:lnTo>
                <a:lnTo>
                  <a:pt x="440" y="55"/>
                </a:lnTo>
                <a:lnTo>
                  <a:pt x="441" y="58"/>
                </a:lnTo>
                <a:lnTo>
                  <a:pt x="442" y="60"/>
                </a:lnTo>
                <a:lnTo>
                  <a:pt x="445" y="62"/>
                </a:lnTo>
                <a:lnTo>
                  <a:pt x="445" y="64"/>
                </a:lnTo>
                <a:lnTo>
                  <a:pt x="446" y="66"/>
                </a:lnTo>
                <a:lnTo>
                  <a:pt x="447" y="69"/>
                </a:lnTo>
                <a:lnTo>
                  <a:pt x="450" y="73"/>
                </a:lnTo>
                <a:lnTo>
                  <a:pt x="452" y="76"/>
                </a:lnTo>
                <a:lnTo>
                  <a:pt x="454" y="81"/>
                </a:lnTo>
                <a:lnTo>
                  <a:pt x="454" y="82"/>
                </a:lnTo>
                <a:lnTo>
                  <a:pt x="457" y="86"/>
                </a:lnTo>
                <a:lnTo>
                  <a:pt x="457" y="88"/>
                </a:lnTo>
                <a:lnTo>
                  <a:pt x="458" y="91"/>
                </a:lnTo>
                <a:lnTo>
                  <a:pt x="461" y="95"/>
                </a:lnTo>
                <a:lnTo>
                  <a:pt x="461" y="98"/>
                </a:lnTo>
                <a:lnTo>
                  <a:pt x="462" y="100"/>
                </a:lnTo>
                <a:lnTo>
                  <a:pt x="462" y="102"/>
                </a:lnTo>
                <a:lnTo>
                  <a:pt x="463" y="104"/>
                </a:lnTo>
                <a:lnTo>
                  <a:pt x="463" y="106"/>
                </a:lnTo>
                <a:lnTo>
                  <a:pt x="464" y="108"/>
                </a:lnTo>
                <a:lnTo>
                  <a:pt x="465" y="112"/>
                </a:lnTo>
                <a:lnTo>
                  <a:pt x="469" y="127"/>
                </a:lnTo>
                <a:lnTo>
                  <a:pt x="469" y="131"/>
                </a:lnTo>
                <a:lnTo>
                  <a:pt x="471" y="142"/>
                </a:lnTo>
                <a:lnTo>
                  <a:pt x="471" y="147"/>
                </a:lnTo>
                <a:lnTo>
                  <a:pt x="473" y="152"/>
                </a:lnTo>
                <a:lnTo>
                  <a:pt x="473" y="159"/>
                </a:lnTo>
                <a:lnTo>
                  <a:pt x="474" y="166"/>
                </a:lnTo>
                <a:lnTo>
                  <a:pt x="474" y="170"/>
                </a:lnTo>
                <a:lnTo>
                  <a:pt x="474" y="174"/>
                </a:lnTo>
                <a:lnTo>
                  <a:pt x="474" y="176"/>
                </a:lnTo>
                <a:lnTo>
                  <a:pt x="474" y="180"/>
                </a:lnTo>
                <a:lnTo>
                  <a:pt x="475" y="211"/>
                </a:lnTo>
                <a:lnTo>
                  <a:pt x="475" y="233"/>
                </a:lnTo>
                <a:lnTo>
                  <a:pt x="475" y="239"/>
                </a:lnTo>
                <a:lnTo>
                  <a:pt x="474" y="246"/>
                </a:lnTo>
                <a:lnTo>
                  <a:pt x="474" y="249"/>
                </a:lnTo>
                <a:lnTo>
                  <a:pt x="474" y="253"/>
                </a:lnTo>
                <a:lnTo>
                  <a:pt x="474" y="257"/>
                </a:lnTo>
                <a:lnTo>
                  <a:pt x="474" y="259"/>
                </a:lnTo>
                <a:lnTo>
                  <a:pt x="473" y="274"/>
                </a:lnTo>
                <a:lnTo>
                  <a:pt x="469" y="302"/>
                </a:lnTo>
                <a:lnTo>
                  <a:pt x="468" y="307"/>
                </a:lnTo>
                <a:lnTo>
                  <a:pt x="467" y="309"/>
                </a:lnTo>
                <a:lnTo>
                  <a:pt x="467" y="311"/>
                </a:lnTo>
                <a:lnTo>
                  <a:pt x="465" y="314"/>
                </a:lnTo>
                <a:lnTo>
                  <a:pt x="464" y="319"/>
                </a:lnTo>
                <a:lnTo>
                  <a:pt x="464" y="320"/>
                </a:lnTo>
                <a:lnTo>
                  <a:pt x="463" y="322"/>
                </a:lnTo>
                <a:lnTo>
                  <a:pt x="463" y="324"/>
                </a:lnTo>
                <a:lnTo>
                  <a:pt x="462" y="327"/>
                </a:lnTo>
                <a:lnTo>
                  <a:pt x="459" y="335"/>
                </a:lnTo>
                <a:lnTo>
                  <a:pt x="458" y="337"/>
                </a:lnTo>
                <a:lnTo>
                  <a:pt x="457" y="341"/>
                </a:lnTo>
                <a:lnTo>
                  <a:pt x="456" y="343"/>
                </a:lnTo>
                <a:lnTo>
                  <a:pt x="454" y="347"/>
                </a:lnTo>
                <a:lnTo>
                  <a:pt x="453" y="349"/>
                </a:lnTo>
                <a:lnTo>
                  <a:pt x="452" y="350"/>
                </a:lnTo>
                <a:lnTo>
                  <a:pt x="451" y="353"/>
                </a:lnTo>
                <a:lnTo>
                  <a:pt x="450" y="355"/>
                </a:lnTo>
                <a:lnTo>
                  <a:pt x="447" y="358"/>
                </a:lnTo>
                <a:lnTo>
                  <a:pt x="446" y="360"/>
                </a:lnTo>
                <a:lnTo>
                  <a:pt x="446" y="361"/>
                </a:lnTo>
                <a:lnTo>
                  <a:pt x="445" y="364"/>
                </a:lnTo>
                <a:lnTo>
                  <a:pt x="444" y="365"/>
                </a:lnTo>
                <a:lnTo>
                  <a:pt x="442" y="368"/>
                </a:lnTo>
                <a:lnTo>
                  <a:pt x="440" y="369"/>
                </a:lnTo>
                <a:lnTo>
                  <a:pt x="438" y="371"/>
                </a:lnTo>
                <a:lnTo>
                  <a:pt x="434" y="376"/>
                </a:lnTo>
                <a:lnTo>
                  <a:pt x="429" y="382"/>
                </a:lnTo>
                <a:lnTo>
                  <a:pt x="427" y="385"/>
                </a:lnTo>
                <a:lnTo>
                  <a:pt x="422" y="388"/>
                </a:lnTo>
                <a:lnTo>
                  <a:pt x="419" y="390"/>
                </a:lnTo>
                <a:lnTo>
                  <a:pt x="417" y="392"/>
                </a:lnTo>
                <a:lnTo>
                  <a:pt x="416" y="393"/>
                </a:lnTo>
                <a:lnTo>
                  <a:pt x="413" y="394"/>
                </a:lnTo>
                <a:lnTo>
                  <a:pt x="412" y="396"/>
                </a:lnTo>
                <a:lnTo>
                  <a:pt x="410" y="397"/>
                </a:lnTo>
                <a:lnTo>
                  <a:pt x="409" y="398"/>
                </a:lnTo>
                <a:lnTo>
                  <a:pt x="406" y="399"/>
                </a:lnTo>
                <a:lnTo>
                  <a:pt x="404" y="399"/>
                </a:lnTo>
                <a:lnTo>
                  <a:pt x="402" y="401"/>
                </a:lnTo>
                <a:lnTo>
                  <a:pt x="400" y="402"/>
                </a:lnTo>
                <a:lnTo>
                  <a:pt x="396" y="404"/>
                </a:lnTo>
                <a:lnTo>
                  <a:pt x="387" y="409"/>
                </a:lnTo>
                <a:lnTo>
                  <a:pt x="389" y="410"/>
                </a:lnTo>
                <a:lnTo>
                  <a:pt x="392" y="414"/>
                </a:lnTo>
                <a:lnTo>
                  <a:pt x="398" y="419"/>
                </a:lnTo>
                <a:lnTo>
                  <a:pt x="404" y="424"/>
                </a:lnTo>
                <a:lnTo>
                  <a:pt x="406" y="427"/>
                </a:lnTo>
                <a:lnTo>
                  <a:pt x="409" y="430"/>
                </a:lnTo>
                <a:lnTo>
                  <a:pt x="411" y="432"/>
                </a:lnTo>
                <a:lnTo>
                  <a:pt x="412" y="435"/>
                </a:lnTo>
                <a:lnTo>
                  <a:pt x="413" y="437"/>
                </a:lnTo>
                <a:lnTo>
                  <a:pt x="415" y="438"/>
                </a:lnTo>
                <a:lnTo>
                  <a:pt x="416" y="441"/>
                </a:lnTo>
                <a:lnTo>
                  <a:pt x="417" y="442"/>
                </a:lnTo>
                <a:lnTo>
                  <a:pt x="417" y="444"/>
                </a:lnTo>
                <a:lnTo>
                  <a:pt x="419" y="447"/>
                </a:lnTo>
                <a:lnTo>
                  <a:pt x="422" y="452"/>
                </a:lnTo>
                <a:lnTo>
                  <a:pt x="423" y="453"/>
                </a:lnTo>
                <a:lnTo>
                  <a:pt x="424" y="455"/>
                </a:lnTo>
                <a:lnTo>
                  <a:pt x="425" y="458"/>
                </a:lnTo>
                <a:lnTo>
                  <a:pt x="427" y="460"/>
                </a:lnTo>
                <a:lnTo>
                  <a:pt x="429" y="465"/>
                </a:lnTo>
                <a:lnTo>
                  <a:pt x="429" y="466"/>
                </a:lnTo>
                <a:lnTo>
                  <a:pt x="430" y="469"/>
                </a:lnTo>
                <a:lnTo>
                  <a:pt x="432" y="471"/>
                </a:lnTo>
                <a:lnTo>
                  <a:pt x="432" y="473"/>
                </a:lnTo>
                <a:lnTo>
                  <a:pt x="433" y="475"/>
                </a:lnTo>
                <a:lnTo>
                  <a:pt x="434" y="480"/>
                </a:lnTo>
                <a:lnTo>
                  <a:pt x="436" y="486"/>
                </a:lnTo>
                <a:lnTo>
                  <a:pt x="446" y="516"/>
                </a:lnTo>
                <a:lnTo>
                  <a:pt x="446" y="519"/>
                </a:lnTo>
                <a:lnTo>
                  <a:pt x="446" y="521"/>
                </a:lnTo>
                <a:lnTo>
                  <a:pt x="447" y="524"/>
                </a:lnTo>
                <a:lnTo>
                  <a:pt x="447" y="526"/>
                </a:lnTo>
                <a:lnTo>
                  <a:pt x="448" y="529"/>
                </a:lnTo>
                <a:lnTo>
                  <a:pt x="450" y="534"/>
                </a:lnTo>
                <a:lnTo>
                  <a:pt x="451" y="540"/>
                </a:lnTo>
                <a:lnTo>
                  <a:pt x="451" y="542"/>
                </a:lnTo>
                <a:lnTo>
                  <a:pt x="452" y="545"/>
                </a:lnTo>
                <a:lnTo>
                  <a:pt x="452" y="547"/>
                </a:lnTo>
                <a:lnTo>
                  <a:pt x="453" y="553"/>
                </a:lnTo>
                <a:lnTo>
                  <a:pt x="454" y="556"/>
                </a:lnTo>
                <a:lnTo>
                  <a:pt x="456" y="560"/>
                </a:lnTo>
                <a:lnTo>
                  <a:pt x="457" y="565"/>
                </a:lnTo>
                <a:lnTo>
                  <a:pt x="457" y="569"/>
                </a:lnTo>
                <a:lnTo>
                  <a:pt x="458" y="571"/>
                </a:lnTo>
                <a:lnTo>
                  <a:pt x="458" y="574"/>
                </a:lnTo>
                <a:lnTo>
                  <a:pt x="459" y="579"/>
                </a:lnTo>
                <a:lnTo>
                  <a:pt x="461" y="581"/>
                </a:lnTo>
                <a:lnTo>
                  <a:pt x="461" y="587"/>
                </a:lnTo>
                <a:lnTo>
                  <a:pt x="462" y="592"/>
                </a:lnTo>
                <a:lnTo>
                  <a:pt x="463" y="595"/>
                </a:lnTo>
                <a:lnTo>
                  <a:pt x="463" y="597"/>
                </a:lnTo>
                <a:lnTo>
                  <a:pt x="464" y="601"/>
                </a:lnTo>
                <a:lnTo>
                  <a:pt x="468" y="613"/>
                </a:lnTo>
                <a:lnTo>
                  <a:pt x="469" y="620"/>
                </a:lnTo>
                <a:lnTo>
                  <a:pt x="470" y="626"/>
                </a:lnTo>
                <a:lnTo>
                  <a:pt x="470" y="629"/>
                </a:lnTo>
                <a:lnTo>
                  <a:pt x="471" y="631"/>
                </a:lnTo>
                <a:lnTo>
                  <a:pt x="471" y="634"/>
                </a:lnTo>
                <a:lnTo>
                  <a:pt x="473" y="640"/>
                </a:lnTo>
                <a:lnTo>
                  <a:pt x="474" y="642"/>
                </a:lnTo>
                <a:lnTo>
                  <a:pt x="475" y="647"/>
                </a:lnTo>
                <a:lnTo>
                  <a:pt x="475" y="652"/>
                </a:lnTo>
                <a:lnTo>
                  <a:pt x="476" y="656"/>
                </a:lnTo>
                <a:lnTo>
                  <a:pt x="476" y="658"/>
                </a:lnTo>
                <a:lnTo>
                  <a:pt x="477" y="660"/>
                </a:lnTo>
                <a:lnTo>
                  <a:pt x="479" y="665"/>
                </a:lnTo>
                <a:lnTo>
                  <a:pt x="479" y="668"/>
                </a:lnTo>
                <a:lnTo>
                  <a:pt x="480" y="674"/>
                </a:lnTo>
                <a:lnTo>
                  <a:pt x="481" y="676"/>
                </a:lnTo>
                <a:lnTo>
                  <a:pt x="483" y="686"/>
                </a:lnTo>
                <a:lnTo>
                  <a:pt x="486" y="697"/>
                </a:lnTo>
                <a:lnTo>
                  <a:pt x="488" y="708"/>
                </a:lnTo>
                <a:lnTo>
                  <a:pt x="491" y="718"/>
                </a:lnTo>
                <a:lnTo>
                  <a:pt x="493" y="731"/>
                </a:lnTo>
                <a:lnTo>
                  <a:pt x="496" y="743"/>
                </a:lnTo>
                <a:lnTo>
                  <a:pt x="499" y="754"/>
                </a:lnTo>
                <a:lnTo>
                  <a:pt x="499" y="758"/>
                </a:lnTo>
                <a:lnTo>
                  <a:pt x="499" y="761"/>
                </a:lnTo>
                <a:lnTo>
                  <a:pt x="500" y="763"/>
                </a:lnTo>
                <a:lnTo>
                  <a:pt x="502" y="768"/>
                </a:lnTo>
                <a:lnTo>
                  <a:pt x="502" y="770"/>
                </a:lnTo>
                <a:lnTo>
                  <a:pt x="503" y="776"/>
                </a:lnTo>
                <a:lnTo>
                  <a:pt x="504" y="779"/>
                </a:lnTo>
                <a:lnTo>
                  <a:pt x="506" y="793"/>
                </a:lnTo>
                <a:lnTo>
                  <a:pt x="307" y="793"/>
                </a:lnTo>
                <a:lnTo>
                  <a:pt x="306" y="787"/>
                </a:lnTo>
                <a:lnTo>
                  <a:pt x="303" y="781"/>
                </a:lnTo>
                <a:lnTo>
                  <a:pt x="303" y="779"/>
                </a:lnTo>
                <a:lnTo>
                  <a:pt x="301" y="769"/>
                </a:lnTo>
                <a:lnTo>
                  <a:pt x="301" y="764"/>
                </a:lnTo>
                <a:lnTo>
                  <a:pt x="299" y="753"/>
                </a:lnTo>
                <a:lnTo>
                  <a:pt x="297" y="747"/>
                </a:lnTo>
                <a:lnTo>
                  <a:pt x="296" y="742"/>
                </a:lnTo>
                <a:lnTo>
                  <a:pt x="295" y="730"/>
                </a:lnTo>
                <a:lnTo>
                  <a:pt x="291" y="719"/>
                </a:lnTo>
                <a:lnTo>
                  <a:pt x="291" y="715"/>
                </a:lnTo>
                <a:lnTo>
                  <a:pt x="289" y="706"/>
                </a:lnTo>
                <a:lnTo>
                  <a:pt x="288" y="696"/>
                </a:lnTo>
                <a:lnTo>
                  <a:pt x="286" y="686"/>
                </a:lnTo>
                <a:lnTo>
                  <a:pt x="284" y="676"/>
                </a:lnTo>
                <a:lnTo>
                  <a:pt x="284" y="673"/>
                </a:lnTo>
                <a:lnTo>
                  <a:pt x="282" y="663"/>
                </a:lnTo>
                <a:lnTo>
                  <a:pt x="280" y="657"/>
                </a:lnTo>
                <a:lnTo>
                  <a:pt x="279" y="652"/>
                </a:lnTo>
                <a:lnTo>
                  <a:pt x="278" y="646"/>
                </a:lnTo>
                <a:lnTo>
                  <a:pt x="277" y="640"/>
                </a:lnTo>
                <a:lnTo>
                  <a:pt x="276" y="634"/>
                </a:lnTo>
                <a:lnTo>
                  <a:pt x="274" y="628"/>
                </a:lnTo>
                <a:lnTo>
                  <a:pt x="273" y="621"/>
                </a:lnTo>
                <a:lnTo>
                  <a:pt x="272" y="615"/>
                </a:lnTo>
                <a:lnTo>
                  <a:pt x="268" y="598"/>
                </a:lnTo>
                <a:lnTo>
                  <a:pt x="268" y="595"/>
                </a:lnTo>
                <a:lnTo>
                  <a:pt x="266" y="586"/>
                </a:lnTo>
                <a:lnTo>
                  <a:pt x="265" y="576"/>
                </a:lnTo>
                <a:lnTo>
                  <a:pt x="263" y="568"/>
                </a:lnTo>
                <a:lnTo>
                  <a:pt x="261" y="559"/>
                </a:lnTo>
                <a:lnTo>
                  <a:pt x="261" y="556"/>
                </a:lnTo>
                <a:lnTo>
                  <a:pt x="259" y="548"/>
                </a:lnTo>
                <a:lnTo>
                  <a:pt x="257" y="541"/>
                </a:lnTo>
                <a:lnTo>
                  <a:pt x="257" y="537"/>
                </a:lnTo>
                <a:lnTo>
                  <a:pt x="256" y="530"/>
                </a:lnTo>
                <a:lnTo>
                  <a:pt x="255" y="526"/>
                </a:lnTo>
                <a:lnTo>
                  <a:pt x="254" y="523"/>
                </a:lnTo>
                <a:lnTo>
                  <a:pt x="254" y="520"/>
                </a:lnTo>
                <a:lnTo>
                  <a:pt x="253" y="513"/>
                </a:lnTo>
                <a:lnTo>
                  <a:pt x="250" y="505"/>
                </a:lnTo>
                <a:lnTo>
                  <a:pt x="250" y="503"/>
                </a:lnTo>
                <a:lnTo>
                  <a:pt x="249" y="496"/>
                </a:lnTo>
                <a:lnTo>
                  <a:pt x="247" y="488"/>
                </a:lnTo>
                <a:lnTo>
                  <a:pt x="245" y="481"/>
                </a:lnTo>
                <a:lnTo>
                  <a:pt x="244" y="479"/>
                </a:lnTo>
                <a:lnTo>
                  <a:pt x="243" y="475"/>
                </a:lnTo>
                <a:lnTo>
                  <a:pt x="243" y="473"/>
                </a:lnTo>
                <a:lnTo>
                  <a:pt x="243" y="471"/>
                </a:lnTo>
                <a:lnTo>
                  <a:pt x="242" y="469"/>
                </a:lnTo>
                <a:lnTo>
                  <a:pt x="241" y="464"/>
                </a:lnTo>
                <a:lnTo>
                  <a:pt x="239" y="462"/>
                </a:lnTo>
                <a:lnTo>
                  <a:pt x="238" y="459"/>
                </a:lnTo>
                <a:lnTo>
                  <a:pt x="237" y="457"/>
                </a:lnTo>
                <a:lnTo>
                  <a:pt x="236" y="454"/>
                </a:lnTo>
                <a:lnTo>
                  <a:pt x="233" y="452"/>
                </a:lnTo>
                <a:lnTo>
                  <a:pt x="232" y="451"/>
                </a:lnTo>
                <a:lnTo>
                  <a:pt x="230" y="447"/>
                </a:lnTo>
                <a:lnTo>
                  <a:pt x="226" y="446"/>
                </a:lnTo>
                <a:lnTo>
                  <a:pt x="221" y="444"/>
                </a:lnTo>
                <a:lnTo>
                  <a:pt x="216" y="444"/>
                </a:lnTo>
                <a:lnTo>
                  <a:pt x="205" y="446"/>
                </a:lnTo>
                <a:lnTo>
                  <a:pt x="205" y="793"/>
                </a:lnTo>
                <a:lnTo>
                  <a:pt x="12" y="793"/>
                </a:lnTo>
                <a:lnTo>
                  <a:pt x="12" y="0"/>
                </a:lnTo>
                <a:close/>
              </a:path>
            </a:pathLst>
          </a:custGeom>
          <a:solidFill>
            <a:srgbClr val="003F56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 sz="135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2" name="Slide Number Placeholder" hidden="1"/>
          <p:cNvSpPr>
            <a:spLocks noGrp="1"/>
          </p:cNvSpPr>
          <p:nvPr>
            <p:ph type="sldNum" sz="quarter" idx="10"/>
            <p:custDataLst>
              <p:tags r:id="rId4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D0D672A5-0AA1-4057-B800-00208584BB42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3" name="Footer Placeholder" hidden="1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7970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14883A25-DD65-46A7-BD2B-107F244CDCB5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ABE8C75F-F92B-463A-AF5B-B0028649DA0A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08232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C2B4C825-90F0-4DCC-AA1A-F77ED6D44875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2D210C4D-20A4-4FD9-86DC-678EA17396A1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32044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D80D6B13-0D11-4E42-B8C8-6B1326148364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CD32D7A-D6E8-4C18-9789-D5D7CEDB7A1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47253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BB94F9AC-E354-4CEB-B218-BF1187D646FC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1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1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7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33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pic>
        <p:nvPicPr>
          <p:cNvPr id="34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36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7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1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2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3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13BB2DB-0B71-4168-9A06-D1EFA10EF18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4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50057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8" name="Rectangle 45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C6643F2-7466-4227-84C2-FA0A0039CFE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68595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4118" y="356197"/>
            <a:ext cx="3012149" cy="1408000"/>
          </a:xfrm>
          <a:prstGeom prst="rect">
            <a:avLst/>
          </a:prstGeom>
        </p:spPr>
      </p:pic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  <a:endParaRPr lang="fr-FR" dirty="0"/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60000" y="2499742"/>
            <a:ext cx="8424000" cy="192350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50" b="1" cap="all" baseline="0"/>
            </a:lvl1pPr>
            <a:lvl2pPr marL="0" indent="0">
              <a:spcBef>
                <a:spcPts val="500"/>
              </a:spcBef>
              <a:spcAft>
                <a:spcPts val="0"/>
              </a:spcAft>
              <a:buNone/>
              <a:defRPr sz="18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3904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E9F3C7E-3B26-486B-AA31-37CC71075DD1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479EB0D0-DCBA-410A-8B57-7E907E914CC1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68915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C0F80D2F-CD6C-4398-B098-A473A494BB1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5C3F7B55-9F1B-4895-B732-2E6B34AC433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32388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7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9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0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B26FD3C4-5227-42BB-865F-3E07F20FA799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1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2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3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5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6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7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8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9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0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Slide Number"/>
          <p:cNvSpPr txBox="1">
            <a:spLocks noChangeArrowheads="1"/>
          </p:cNvSpPr>
          <p:nvPr userDrawn="1"/>
        </p:nvSpPr>
        <p:spPr bwMode="auto">
          <a:xfrm rot="10800000" flipV="1">
            <a:off x="7892561" y="5036035"/>
            <a:ext cx="663820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fr-FR" altLang="en-US" sz="675" b="0" noProof="1">
                <a:solidFill>
                  <a:schemeClr val="tx2"/>
                </a:solidFill>
                <a:latin typeface="Arial" pitchFamily="34" charset="0"/>
                <a:sym typeface="+mn-lt"/>
              </a:rPr>
              <a:t>Version 1.1</a:t>
            </a:r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D705FEDC-2E5E-44E1-9A55-685522D09C3A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020906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54FAC66-088D-4DF6-8ED3-89EBEBCC712A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7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32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pic>
        <p:nvPicPr>
          <p:cNvPr id="33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grpSp>
        <p:nvGrpSpPr>
          <p:cNvPr id="35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6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7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2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FC4C5EB3-C2CA-4CE9-AC1C-5A3971CEA4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3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84767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sp>
        <p:nvSpPr>
          <p:cNvPr id="8" name="Rectangle 44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8C89B9BE-C220-4F7E-8F02-1A304894512C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498753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4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6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13361A4-9AF3-48DA-9FEE-D429350EDD6A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9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0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1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2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3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4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5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6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AA7F8438-D7AA-4CAA-85FF-7DD92D4BC0B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0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428607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C52BAD0-91EC-432C-92DF-EA1A4310F343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0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11BA5338-1950-45C9-8135-92AD83C51A47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1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718711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5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7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9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0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81F6CBFD-3B9F-48FB-AC2A-0F72D411D527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1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2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3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5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6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7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8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9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0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2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0DC2D2E6-5898-4252-BA0A-5D15011D099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3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648919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6" name="think-cell Slide" r:id="rId10" imgW="216" imgH="216" progId="TCLayout.ActiveDocument.1">
                  <p:embed/>
                </p:oleObj>
              </mc:Choice>
              <mc:Fallback>
                <p:oleObj name="think-cell Slide" r:id="rId10" imgW="216" imgH="216" progId="TCLayout.ActiveDocument.1">
                  <p:embed/>
                  <p:pic>
                    <p:nvPicPr>
                      <p:cNvPr id="3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5" name="Image 2" descr="frise.png"/>
          <p:cNvPicPr>
            <a:picLocks noChangeAspect="1"/>
          </p:cNvPicPr>
          <p:nvPr/>
        </p:nvPicPr>
        <p:blipFill>
          <a:blip r:embed="rId12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7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8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E0653E29-BB97-452D-B39B-09521C4C2FA4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9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0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1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2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3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4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5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6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7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8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0" name="Object 3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3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7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32" name="Rectangle à coins arrondis 13"/>
          <p:cNvSpPr>
            <a:spLocks noChangeArrowheads="1"/>
          </p:cNvSpPr>
          <p:nvPr userDrawn="1"/>
        </p:nvSpPr>
        <p:spPr bwMode="auto">
          <a:xfrm>
            <a:off x="0" y="342900"/>
            <a:ext cx="3043604" cy="4800600"/>
          </a:xfrm>
          <a:prstGeom prst="roundRect">
            <a:avLst>
              <a:gd name="adj" fmla="val 33130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pic>
        <p:nvPicPr>
          <p:cNvPr id="33" name="Image 14" descr="trame-dégradé2-ppt.png"/>
          <p:cNvPicPr>
            <a:picLocks noChangeAspect="1"/>
          </p:cNvPicPr>
          <p:nvPr userDrawn="1"/>
        </p:nvPicPr>
        <p:blipFill>
          <a:blip r:embed="rId15"/>
          <a:srcRect/>
          <a:stretch>
            <a:fillRect/>
          </a:stretch>
        </p:blipFill>
        <p:spPr bwMode="auto">
          <a:xfrm>
            <a:off x="2602523" y="2000250"/>
            <a:ext cx="339969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Rectangle 7"/>
          <p:cNvSpPr>
            <a:spLocks noChangeArrowheads="1"/>
          </p:cNvSpPr>
          <p:nvPr userDrawn="1"/>
        </p:nvSpPr>
        <p:spPr bwMode="auto">
          <a:xfrm>
            <a:off x="0" y="342900"/>
            <a:ext cx="1863969" cy="4800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grpSp>
        <p:nvGrpSpPr>
          <p:cNvPr id="35" name="Position Lines"/>
          <p:cNvGrpSpPr>
            <a:grpSpLocks/>
          </p:cNvGrpSpPr>
          <p:nvPr userDrawn="1"/>
        </p:nvGrpSpPr>
        <p:grpSpPr bwMode="auto">
          <a:xfrm>
            <a:off x="332643" y="5164931"/>
            <a:ext cx="3159369" cy="53579"/>
            <a:chOff x="360000" y="6886575"/>
            <a:chExt cx="3423600" cy="72000"/>
          </a:xfrm>
        </p:grpSpPr>
        <p:sp>
          <p:nvSpPr>
            <p:cNvPr id="36" name="Line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3600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7" name="Line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89037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8" name="Line"/>
            <p:cNvSpPr>
              <a:spLocks noChangeShapeType="1"/>
            </p:cNvSpPr>
            <p:nvPr userDrawn="1">
              <p:custDataLst>
                <p:tags r:id="rId6"/>
              </p:custDataLst>
            </p:nvPr>
          </p:nvSpPr>
          <p:spPr bwMode="auto">
            <a:xfrm>
              <a:off x="1174613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39" name="Line"/>
            <p:cNvSpPr>
              <a:spLocks noChangeShapeType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3504122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  <p:sp>
          <p:nvSpPr>
            <p:cNvPr id="40" name="Line"/>
            <p:cNvSpPr>
              <a:spLocks noChangeShapeType="1"/>
            </p:cNvSpPr>
            <p:nvPr userDrawn="1">
              <p:custDataLst>
                <p:tags r:id="rId8"/>
              </p:custDataLst>
            </p:nvPr>
          </p:nvSpPr>
          <p:spPr bwMode="auto">
            <a:xfrm>
              <a:off x="3783600" y="6886575"/>
              <a:ext cx="0" cy="72000"/>
            </a:xfrm>
            <a:prstGeom prst="line">
              <a:avLst/>
            </a:prstGeom>
            <a:noFill/>
            <a:ln w="3175">
              <a:solidFill>
                <a:schemeClr val="accent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fr-FR" sz="1350"/>
            </a:p>
          </p:txBody>
        </p:sp>
      </p:grpSp>
      <p:pic>
        <p:nvPicPr>
          <p:cNvPr id="4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3176153" y="2512118"/>
            <a:ext cx="5251045" cy="238912"/>
          </a:xfrm>
        </p:spPr>
        <p:txBody>
          <a:bodyPr anchor="b">
            <a:spAutoFit/>
          </a:bodyPr>
          <a:lstStyle>
            <a:lvl1pPr marL="396479" indent="-396479" algn="l">
              <a:tabLst>
                <a:tab pos="609600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42" name="Slide Number Placeholder" hidden="1"/>
          <p:cNvSpPr>
            <a:spLocks noGrp="1"/>
          </p:cNvSpPr>
          <p:nvPr>
            <p:ph type="sldNum" sz="quarter" idx="10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31CDAC3B-0055-4618-B36B-8F27FE91D25C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43" name="Footer Placeholder" hidden="1"/>
          <p:cNvSpPr>
            <a:spLocks noGrp="1"/>
          </p:cNvSpPr>
          <p:nvPr>
            <p:ph type="ftr" sz="quarter" idx="11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495308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9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>
              <a:solidFill>
                <a:srgbClr val="000000"/>
              </a:solidFill>
            </a:endParaRPr>
          </a:p>
        </p:txBody>
      </p:sp>
      <p:sp>
        <p:nvSpPr>
          <p:cNvPr id="7" name="Rectangle à coins arrondis 10"/>
          <p:cNvSpPr>
            <a:spLocks noChangeArrowheads="1"/>
          </p:cNvSpPr>
          <p:nvPr userDrawn="1"/>
        </p:nvSpPr>
        <p:spPr bwMode="auto">
          <a:xfrm>
            <a:off x="243254" y="627460"/>
            <a:ext cx="6254262" cy="4516040"/>
          </a:xfrm>
          <a:prstGeom prst="roundRect">
            <a:avLst>
              <a:gd name="adj" fmla="val 18106"/>
            </a:avLst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8" name="Rectangle 44"/>
          <p:cNvSpPr>
            <a:spLocks noChangeArrowheads="1"/>
          </p:cNvSpPr>
          <p:nvPr userDrawn="1"/>
        </p:nvSpPr>
        <p:spPr bwMode="auto">
          <a:xfrm>
            <a:off x="0" y="627460"/>
            <a:ext cx="1863969" cy="451604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defRPr/>
            </a:pPr>
            <a:endParaRPr lang="fr-FR" altLang="en-US" sz="105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9" name="Position Lines"/>
          <p:cNvSpPr>
            <a:spLocks noChangeShapeType="1"/>
          </p:cNvSpPr>
          <p:nvPr/>
        </p:nvSpPr>
        <p:spPr bwMode="auto">
          <a:xfrm>
            <a:off x="332643" y="5164931"/>
            <a:ext cx="0" cy="53579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fr-FR" sz="1350"/>
          </a:p>
        </p:txBody>
      </p:sp>
      <p:pic>
        <p:nvPicPr>
          <p:cNvPr id="11" name="Picture 238" descr="D:\Users\bertrand_ballarin\AppData\Local\Microsoft\Windows\Temporary Internet Files\Content.Outlook\E047WPI2\bloc-marque-sgmap.jp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176846" y="4085035"/>
            <a:ext cx="967154" cy="1058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976792" y="4029912"/>
            <a:ext cx="5305343" cy="225382"/>
          </a:xfrm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350">
                <a:solidFill>
                  <a:schemeClr val="tx2"/>
                </a:solidFill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994849" y="2008162"/>
            <a:ext cx="5305343" cy="496800"/>
          </a:xfrm>
        </p:spPr>
        <p:txBody>
          <a:bodyPr anchor="t">
            <a:noAutofit/>
          </a:bodyPr>
          <a:lstStyle>
            <a:lvl1pPr>
              <a:defRPr sz="1725" b="1" baseline="0">
                <a:latin typeface="+mj-lt"/>
                <a:sym typeface="+mn-lt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2" name="Slide Number Placeholder" hidden="1"/>
          <p:cNvSpPr>
            <a:spLocks noGrp="1"/>
          </p:cNvSpPr>
          <p:nvPr>
            <p:ph type="sldNum" sz="quarter" idx="19"/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2B491F7C-840C-4470-8407-EAC3C1850E53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13" name="Footer Placeholder" hidden="1"/>
          <p:cNvSpPr>
            <a:spLocks noGrp="1"/>
          </p:cNvSpPr>
          <p:nvPr>
            <p:ph type="ftr" sz="quarter" idx="20"/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6003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1891968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893600"/>
            <a:ext cx="2520000" cy="2530800"/>
          </a:xfr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16410304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4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6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7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AB8E25A-F719-4E00-A466-E16ADEB4E74C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8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9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0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1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2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3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4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5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6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822E6905-FDF5-4A66-BD4E-3CE5BE53891B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0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rgbClr val="FFFFFF">
                    <a:lumMod val="75000"/>
                  </a:srgb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36721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7EE5BB78-60AD-4392-8E3A-DC13BF86377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623562B4-D54E-4F7E-A89F-5ADB327620C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145361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2B9A147-1558-4B52-AF74-21222CFC7158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7FFBED59-628A-4034-9B19-9DC0A035F2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4811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06400"/>
          </a:xfr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738000"/>
            <a:ext cx="8424000" cy="40464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08596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/>
              <a:t>Intitulé de la direction/service interministériell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1836000"/>
            <a:ext cx="2520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38404549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fr-FR"/>
              <a:t>Cliquez pour modifier le style du titre</a:t>
            </a:r>
            <a:endParaRPr kumimoji="0"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fr-FR"/>
              <a:t>Cliquez pour modifier les styles du texte du masque</a:t>
            </a:r>
          </a:p>
          <a:p>
            <a:pPr lvl="1" eaLnBrk="1" latinLnBrk="0" hangingPunct="1"/>
            <a:r>
              <a:rPr lang="fr-FR"/>
              <a:t>Deuxième niveau</a:t>
            </a:r>
          </a:p>
          <a:p>
            <a:pPr lvl="2" eaLnBrk="1" latinLnBrk="0" hangingPunct="1"/>
            <a:r>
              <a:rPr lang="fr-FR"/>
              <a:t>Troisième niveau</a:t>
            </a:r>
          </a:p>
          <a:p>
            <a:pPr lvl="3" eaLnBrk="1" latinLnBrk="0" hangingPunct="1"/>
            <a:r>
              <a:rPr lang="fr-FR"/>
              <a:t>Quatrième niveau</a:t>
            </a:r>
          </a:p>
          <a:p>
            <a:pPr lvl="4" eaLnBrk="1" latinLnBrk="0" hangingPunct="1"/>
            <a:r>
              <a:rPr lang="fr-FR"/>
              <a:t>Cinquième niveau</a:t>
            </a:r>
            <a:endParaRPr kumimoji="0"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8B8CC-9591-4F8D-BDDB-48803B74F903}" type="datetimeFigureOut">
              <a:rPr lang="fr-FR" smtClean="0"/>
              <a:pPr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087774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00000"/>
            <a:ext cx="8424000" cy="720000"/>
          </a:xfrm>
        </p:spPr>
        <p:txBody>
          <a:bodyPr/>
          <a:lstStyle/>
          <a:p>
            <a:r>
              <a:rPr lang="fr-FR" noProof="0" dirty="0"/>
              <a:t>Titre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fr-FR" dirty="0"/>
              <a:t>Intitulé de la direction/service interministérielle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contenu 8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98" y="1836000"/>
            <a:ext cx="8424000" cy="2574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180000"/>
            <a:ext cx="5472000" cy="360000"/>
          </a:xfrm>
        </p:spPr>
        <p:txBody>
          <a:bodyPr/>
          <a:lstStyle>
            <a:lvl1pPr marL="81000" indent="-81000" algn="r">
              <a:spcAft>
                <a:spcPts val="0"/>
              </a:spcAft>
              <a:buFont typeface="+mj-lt"/>
              <a:buAutoNum type="arabicPeriod"/>
              <a:defRPr sz="563" b="1"/>
            </a:lvl1pPr>
            <a:lvl2pPr marL="81000" indent="-81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563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</p:spTree>
    <p:extLst>
      <p:ext uri="{BB962C8B-B14F-4D97-AF65-F5344CB8AC3E}">
        <p14:creationId xmlns:p14="http://schemas.microsoft.com/office/powerpoint/2010/main" val="38281769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4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4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6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8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9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7EE5BB78-60AD-4392-8E3A-DC13BF86377B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0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1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2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3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4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5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6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7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18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19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1" name="Slide Number Placeholder" hidden="1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623562B4-D54E-4F7E-A89F-5ADB327620C4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2" name="Footer Placeholder" hidden="1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5602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4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6" name="!!!Do not delete this th-style object!!!!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6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8" name="Image 2" descr="frise.png"/>
          <p:cNvPicPr>
            <a:picLocks noChangeAspect="1"/>
          </p:cNvPicPr>
          <p:nvPr/>
        </p:nvPicPr>
        <p:blipFill>
          <a:blip r:embed="rId8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10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11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62B9A147-1558-4B52-AF74-21222CFC7158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12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13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14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5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16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17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18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19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grpSp>
        <p:nvGrpSpPr>
          <p:cNvPr id="20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1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1231" y="1282500"/>
            <a:ext cx="7879374" cy="962571"/>
          </a:xfrm>
        </p:spPr>
        <p:txBody>
          <a:bodyPr/>
          <a:lstStyle>
            <a:lvl1pPr>
              <a:defRPr>
                <a:latin typeface="+mn-lt"/>
                <a:sym typeface="+mn-lt"/>
              </a:defRPr>
            </a:lvl1pPr>
            <a:lvl2pPr>
              <a:defRPr>
                <a:latin typeface="+mn-lt"/>
                <a:sym typeface="+mn-lt"/>
              </a:defRPr>
            </a:lvl2pPr>
            <a:lvl3pPr>
              <a:defRPr>
                <a:latin typeface="+mn-lt"/>
                <a:sym typeface="+mn-lt"/>
              </a:defRPr>
            </a:lvl3pPr>
            <a:lvl4pPr>
              <a:defRPr>
                <a:latin typeface="+mn-lt"/>
                <a:sym typeface="+mn-lt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231" y="348431"/>
            <a:ext cx="7879374" cy="450900"/>
          </a:xfrm>
        </p:spPr>
        <p:txBody>
          <a:bodyPr/>
          <a:lstStyle>
            <a:lvl1pPr>
              <a:defRPr>
                <a:latin typeface="+mj-lt"/>
                <a:sym typeface="+mn-lt"/>
              </a:defRPr>
            </a:lvl1pPr>
          </a:lstStyle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33" name="Slide Number Placeholder" hidden="1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>
          <a:xfrm>
            <a:off x="9205547" y="134311"/>
            <a:ext cx="35266" cy="23083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eaLnBrk="1" hangingPunct="1">
              <a:defRPr sz="150" b="0">
                <a:solidFill>
                  <a:srgbClr val="BFBFBF"/>
                </a:solidFill>
                <a:latin typeface="Arial" pitchFamily="34" charset="0"/>
                <a:sym typeface="+mn-lt"/>
              </a:defRPr>
            </a:lvl1pPr>
          </a:lstStyle>
          <a:p>
            <a:pPr>
              <a:defRPr/>
            </a:pPr>
            <a:fld id="{7FFBED59-628A-4034-9B19-9DC0A035F280}" type="slidenum">
              <a:rPr lang="fr-FR" altLang="en-US"/>
              <a:pPr>
                <a:defRPr/>
              </a:pPr>
              <a:t>‹N°›</a:t>
            </a:fld>
            <a:endParaRPr lang="fr-FR" altLang="en-US"/>
          </a:p>
        </p:txBody>
      </p:sp>
      <p:sp>
        <p:nvSpPr>
          <p:cNvPr id="34" name="Footer Placeholder" hidden="1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>
          <a:xfrm>
            <a:off x="9205546" y="171451"/>
            <a:ext cx="65" cy="2308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01849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21" Type="http://schemas.openxmlformats.org/officeDocument/2006/relationships/slideLayout" Target="../slideLayouts/slideLayout28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27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7.xml"/><Relationship Id="rId19" Type="http://schemas.openxmlformats.org/officeDocument/2006/relationships/slideLayout" Target="../slideLayouts/slideLayout26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59999" y="900000"/>
            <a:ext cx="8424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59999" y="1836000"/>
            <a:ext cx="8424000" cy="257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7614000" y="4783500"/>
            <a:ext cx="117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750" b="1">
                <a:solidFill>
                  <a:schemeClr val="tx1"/>
                </a:solidFill>
              </a:defRPr>
            </a:lvl1pPr>
          </a:lstStyle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360000" y="4783500"/>
            <a:ext cx="5904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75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 interministériell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6264000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75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/>
          <p:nvPr userDrawn="1"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59998" y="211699"/>
            <a:ext cx="1043649" cy="48784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12" r:id="rId2"/>
    <p:sldLayoutId id="2147483810" r:id="rId3"/>
    <p:sldLayoutId id="2147483811" r:id="rId4"/>
    <p:sldLayoutId id="2147483809" r:id="rId5"/>
    <p:sldLayoutId id="2147483816" r:id="rId6"/>
    <p:sldLayoutId id="214748384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/>
          <p:cNvSpPr/>
          <p:nvPr/>
        </p:nvSpPr>
        <p:spPr>
          <a:xfrm>
            <a:off x="0" y="-16669"/>
            <a:ext cx="9144000" cy="5160169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0" tIns="54000" rIns="54000" bIns="81000"/>
          <a:lstStyle/>
          <a:p>
            <a:pPr eaLnBrk="1" hangingPunct="1">
              <a:lnSpc>
                <a:spcPct val="90000"/>
              </a:lnSpc>
              <a:spcBef>
                <a:spcPts val="300"/>
              </a:spcBef>
              <a:defRPr/>
            </a:pPr>
            <a:endParaRPr lang="fr-FR" sz="1125" b="0"/>
          </a:p>
        </p:txBody>
      </p:sp>
      <p:graphicFrame>
        <p:nvGraphicFramePr>
          <p:cNvPr id="14338" name="!!!Do not delete this th-style object!!!!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9" imgW="216" imgH="216" progId="TCLayout.ActiveDocument.1">
                  <p:embed/>
                </p:oleObj>
              </mc:Choice>
              <mc:Fallback>
                <p:oleObj name="think-cell Slide" r:id="rId29" imgW="216" imgH="216" progId="TCLayout.ActiveDocument.1">
                  <p:embed/>
                  <p:pic>
                    <p:nvPicPr>
                      <p:cNvPr id="14338" name="!!!Do not delete this th-style object!!!!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ogner et arrondir un rectangle à un seul coin 1"/>
          <p:cNvSpPr/>
          <p:nvPr/>
        </p:nvSpPr>
        <p:spPr bwMode="auto">
          <a:xfrm flipH="1">
            <a:off x="10259" y="2382"/>
            <a:ext cx="317988" cy="5141119"/>
          </a:xfrm>
          <a:prstGeom prst="snipRound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1" hangingPunct="1">
              <a:defRPr/>
            </a:pPr>
            <a:endParaRPr lang="fr-FR" sz="1050">
              <a:latin typeface="Arial" pitchFamily="-109" charset="0"/>
              <a:ea typeface="ヒラギノ角ゴ Pro W3" pitchFamily="-109" charset="-128"/>
              <a:cs typeface="ヒラギノ角ゴ Pro W3" pitchFamily="-109" charset="-128"/>
            </a:endParaRPr>
          </a:p>
        </p:txBody>
      </p:sp>
      <p:pic>
        <p:nvPicPr>
          <p:cNvPr id="14342" name="Image 2" descr="frise.png"/>
          <p:cNvPicPr>
            <a:picLocks noChangeAspect="1"/>
          </p:cNvPicPr>
          <p:nvPr/>
        </p:nvPicPr>
        <p:blipFill>
          <a:blip r:embed="rId31"/>
          <a:srcRect l="763" r="7738"/>
          <a:stretch>
            <a:fillRect/>
          </a:stretch>
        </p:blipFill>
        <p:spPr bwMode="auto">
          <a:xfrm>
            <a:off x="0" y="154782"/>
            <a:ext cx="8663354" cy="851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!!!Do not delete this text object!!!!_2" hidden="1"/>
          <p:cNvSpPr/>
          <p:nvPr/>
        </p:nvSpPr>
        <p:spPr>
          <a:xfrm>
            <a:off x="9205546" y="44053"/>
            <a:ext cx="29308" cy="23813"/>
          </a:xfrm>
          <a:prstGeom prst="ellipse">
            <a:avLst/>
          </a:prstGeom>
          <a:solidFill>
            <a:schemeClr val="bg1">
              <a:lumMod val="75000"/>
            </a:schemeClr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lnSpc>
                <a:spcPct val="93000"/>
              </a:lnSpc>
              <a:spcBef>
                <a:spcPts val="225"/>
              </a:spcBef>
              <a:defRPr/>
            </a:pPr>
            <a:r>
              <a:rPr lang="fr-FR" sz="150">
                <a:solidFill>
                  <a:schemeClr val="bg1"/>
                </a:solidFill>
                <a:sym typeface="+mn-lt"/>
              </a:rPr>
              <a:t>1</a:t>
            </a:r>
          </a:p>
        </p:txBody>
      </p:sp>
      <p:sp>
        <p:nvSpPr>
          <p:cNvPr id="43" name="!!!Do not delete this text object!!!!" hidden="1"/>
          <p:cNvSpPr txBox="1"/>
          <p:nvPr/>
        </p:nvSpPr>
        <p:spPr>
          <a:xfrm>
            <a:off x="9205546" y="69057"/>
            <a:ext cx="533800" cy="23083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300" b="1" kern="1200">
                <a:solidFill>
                  <a:schemeClr val="tx1"/>
                </a:solidFill>
                <a:latin typeface="Arial Narrow" charset="0"/>
                <a:ea typeface="+mn-ea"/>
                <a:cs typeface="+mn-cs"/>
              </a:defRPr>
            </a:lvl9pPr>
          </a:lstStyle>
          <a:p>
            <a:pPr eaLnBrk="1" hangingPunct="1">
              <a:buClr>
                <a:schemeClr val="tx1"/>
              </a:buClr>
              <a:buSzPct val="100000"/>
              <a:defRPr/>
            </a:pPr>
            <a:r>
              <a:rPr lang="fr-FR" sz="150" b="0" noProof="1">
                <a:solidFill>
                  <a:schemeClr val="bg1">
                    <a:lumMod val="75000"/>
                  </a:schemeClr>
                </a:solidFill>
                <a:latin typeface="+mn-lt"/>
                <a:sym typeface="+mn-lt"/>
              </a:rPr>
              <a:t>A4_RBSC_PPT- 2013-10_v01 - do not delete this text object! </a:t>
            </a:r>
          </a:p>
        </p:txBody>
      </p:sp>
      <p:sp>
        <p:nvSpPr>
          <p:cNvPr id="52" name="Slide Number"/>
          <p:cNvSpPr txBox="1">
            <a:spLocks noChangeArrowheads="1"/>
          </p:cNvSpPr>
          <p:nvPr/>
        </p:nvSpPr>
        <p:spPr bwMode="auto">
          <a:xfrm>
            <a:off x="8663354" y="5032773"/>
            <a:ext cx="155492" cy="9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fld id="{94A58480-CFDD-4FFA-9424-045014C810FF}" type="slidenum">
              <a:rPr altLang="en-US" sz="675" b="0" noProof="1" smtClean="0">
                <a:solidFill>
                  <a:schemeClr val="tx2"/>
                </a:solidFill>
                <a:latin typeface="Arial" pitchFamily="34" charset="0"/>
                <a:sym typeface="+mn-lt"/>
              </a:rPr>
              <a:pPr eaLnBrk="1" hangingPunct="1">
                <a:lnSpc>
                  <a:spcPct val="90000"/>
                </a:lnSpc>
                <a:defRPr/>
              </a:pPr>
              <a:t>‹N°›</a:t>
            </a:fld>
            <a:endParaRPr lang="en-US" altLang="en-US" sz="675" b="0" noProof="1">
              <a:solidFill>
                <a:schemeClr val="tx2"/>
              </a:solidFill>
              <a:latin typeface="Arial" pitchFamily="34" charset="0"/>
              <a:sym typeface="+mn-lt"/>
            </a:endParaRPr>
          </a:p>
        </p:txBody>
      </p:sp>
      <p:sp>
        <p:nvSpPr>
          <p:cNvPr id="2057" name="Slide Number Line"/>
          <p:cNvSpPr>
            <a:spLocks noChangeShapeType="1"/>
          </p:cNvSpPr>
          <p:nvPr/>
        </p:nvSpPr>
        <p:spPr bwMode="auto">
          <a:xfrm>
            <a:off x="8556381" y="5032773"/>
            <a:ext cx="0" cy="92869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defRPr/>
            </a:pPr>
            <a:endParaRPr lang="fr-FR" sz="1350"/>
          </a:p>
        </p:txBody>
      </p:sp>
      <p:sp>
        <p:nvSpPr>
          <p:cNvPr id="2058" name="Source" hidden="1"/>
          <p:cNvSpPr txBox="1">
            <a:spLocks noChangeArrowheads="1"/>
          </p:cNvSpPr>
          <p:nvPr/>
        </p:nvSpPr>
        <p:spPr bwMode="auto">
          <a:xfrm>
            <a:off x="681405" y="5032154"/>
            <a:ext cx="452047" cy="9348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675" b="0">
                <a:latin typeface="Arial" pitchFamily="34" charset="0"/>
                <a:sym typeface="+mn-lt"/>
              </a:rPr>
              <a:t>Source: xxx</a:t>
            </a:r>
          </a:p>
        </p:txBody>
      </p:sp>
      <p:sp>
        <p:nvSpPr>
          <p:cNvPr id="2059" name="Notes" hidden="1"/>
          <p:cNvSpPr txBox="1">
            <a:spLocks noChangeArrowheads="1"/>
          </p:cNvSpPr>
          <p:nvPr/>
        </p:nvSpPr>
        <p:spPr bwMode="auto">
          <a:xfrm>
            <a:off x="681404" y="4813407"/>
            <a:ext cx="256480" cy="103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b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SzPct val="100000"/>
              <a:defRPr/>
            </a:pPr>
            <a:r>
              <a:rPr lang="fr-FR" altLang="en-US" sz="750" b="0">
                <a:latin typeface="Arial" pitchFamily="34" charset="0"/>
                <a:sym typeface="+mn-lt"/>
              </a:rPr>
              <a:t>1) xxx</a:t>
            </a:r>
          </a:p>
        </p:txBody>
      </p:sp>
      <p:grpSp>
        <p:nvGrpSpPr>
          <p:cNvPr id="14349" name="Legend" hidden="1"/>
          <p:cNvGrpSpPr>
            <a:grpSpLocks/>
          </p:cNvGrpSpPr>
          <p:nvPr/>
        </p:nvGrpSpPr>
        <p:grpSpPr bwMode="auto">
          <a:xfrm>
            <a:off x="681405" y="4647010"/>
            <a:ext cx="592888" cy="109538"/>
            <a:chOff x="738189" y="6195259"/>
            <a:chExt cx="641701" cy="146050"/>
          </a:xfrm>
        </p:grpSpPr>
        <p:sp>
          <p:nvSpPr>
            <p:cNvPr id="49" name="LegendIcon"/>
            <p:cNvSpPr/>
            <p:nvPr/>
          </p:nvSpPr>
          <p:spPr>
            <a:xfrm>
              <a:off x="738189" y="6195259"/>
              <a:ext cx="215700" cy="146050"/>
            </a:xfrm>
            <a:prstGeom prst="rect">
              <a:avLst/>
            </a:prstGeom>
            <a:noFill/>
            <a:ln w="9525" cap="flat" cmpd="sng" algn="ctr">
              <a:solidFill>
                <a:schemeClr val="accent3"/>
              </a:solidFill>
              <a:prstDash val="solid"/>
            </a:ln>
            <a:effectLst/>
          </p:spPr>
          <p:txBody>
            <a:bodyPr lIns="0" tIns="0" rIns="0" bIns="0" anchor="ctr"/>
            <a:lstStyle/>
            <a:p>
              <a:pPr algn="ctr" eaLnBrk="1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fr-FR" sz="1350" b="0" kern="0">
                <a:solidFill>
                  <a:srgbClr val="000000"/>
                </a:solidFill>
                <a:latin typeface="+mn-lt"/>
                <a:sym typeface="+mn-lt"/>
              </a:endParaRPr>
            </a:p>
          </p:txBody>
        </p:sp>
        <p:sp>
          <p:nvSpPr>
            <p:cNvPr id="2079" name="LegendText"/>
            <p:cNvSpPr txBox="1">
              <a:spLocks noChangeArrowheads="1"/>
            </p:cNvSpPr>
            <p:nvPr/>
          </p:nvSpPr>
          <p:spPr bwMode="auto">
            <a:xfrm>
              <a:off x="1036363" y="6196846"/>
              <a:ext cx="343527" cy="138499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>
              <a:spAutoFit/>
            </a:bodyPr>
            <a:lstStyle>
              <a:lvl1pPr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1pPr>
              <a:lvl2pPr marL="742950" indent="-28575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2pPr>
              <a:lvl3pPr marL="11430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3pPr>
              <a:lvl4pPr marL="16002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4pPr>
              <a:lvl5pPr marL="2057400" indent="-228600"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300" b="1">
                  <a:solidFill>
                    <a:schemeClr val="tx1"/>
                  </a:solidFill>
                  <a:latin typeface="Arial Narrow" pitchFamily="34" charset="0"/>
                </a:defRPr>
              </a:lvl9pPr>
            </a:lstStyle>
            <a:p>
              <a:pPr eaLnBrk="1" hangingPunct="1">
                <a:lnSpc>
                  <a:spcPct val="90000"/>
                </a:lnSpc>
                <a:buClr>
                  <a:srgbClr val="000000"/>
                </a:buClr>
                <a:buSzPct val="100000"/>
                <a:defRPr/>
              </a:pPr>
              <a:r>
                <a:rPr lang="fr-FR" altLang="en-US" sz="750" b="0">
                  <a:solidFill>
                    <a:srgbClr val="000000"/>
                  </a:solidFill>
                  <a:latin typeface="Arial" pitchFamily="34" charset="0"/>
                  <a:sym typeface="+mn-lt"/>
                </a:rPr>
                <a:t>Legend</a:t>
              </a:r>
            </a:p>
          </p:txBody>
        </p:sp>
      </p:grpSp>
      <p:sp>
        <p:nvSpPr>
          <p:cNvPr id="2061" name="Formatted_text" hidden="1"/>
          <p:cNvSpPr txBox="1">
            <a:spLocks/>
          </p:cNvSpPr>
          <p:nvPr/>
        </p:nvSpPr>
        <p:spPr bwMode="auto">
          <a:xfrm>
            <a:off x="681404" y="1619250"/>
            <a:ext cx="1827334" cy="76431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163513" indent="-163513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344488" indent="-166688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498475" indent="-142875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125">
                <a:latin typeface="Arial" pitchFamily="34" charset="0"/>
                <a:sym typeface="+mn-lt"/>
              </a:rPr>
              <a:t>15 Point Text: Level 0</a:t>
            </a:r>
            <a:endParaRPr lang="fr-FR" altLang="en-US" sz="1125" b="0">
              <a:latin typeface="Arial" pitchFamily="34" charset="0"/>
              <a:sym typeface="+mn-lt"/>
            </a:endParaRPr>
          </a:p>
          <a:p>
            <a:pPr lvl="1" eaLnBrk="1" hangingPunct="1">
              <a:lnSpc>
                <a:spcPct val="90000"/>
              </a:lnSpc>
              <a:spcBef>
                <a:spcPts val="600"/>
              </a:spcBef>
              <a:buClr>
                <a:schemeClr val="tx1"/>
              </a:buClr>
              <a:buSzPct val="100000"/>
              <a:buFont typeface="Arial Narrow" pitchFamily="34" charset="0"/>
              <a:buChar char="&gt;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1</a:t>
            </a:r>
          </a:p>
          <a:p>
            <a:pPr lvl="2" eaLnBrk="1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SzPct val="100000"/>
              <a:buFont typeface="Arial Narrow" pitchFamily="34" charset="0"/>
              <a:buChar char="–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2</a:t>
            </a:r>
          </a:p>
          <a:p>
            <a:pPr lvl="3" eaLnBrk="1" hangingPunct="1">
              <a:lnSpc>
                <a:spcPct val="90000"/>
              </a:lnSpc>
              <a:spcBef>
                <a:spcPts val="150"/>
              </a:spcBef>
              <a:buClr>
                <a:schemeClr val="tx1"/>
              </a:buClr>
              <a:buSzPct val="100000"/>
              <a:buFont typeface="Arial Narrow" pitchFamily="34" charset="0"/>
              <a:buChar char="-"/>
              <a:defRPr/>
            </a:pPr>
            <a:r>
              <a:rPr lang="fr-FR" altLang="en-US" sz="1125" b="0">
                <a:latin typeface="Arial" pitchFamily="34" charset="0"/>
                <a:sym typeface="+mn-lt"/>
              </a:rPr>
              <a:t>Level 3</a:t>
            </a:r>
          </a:p>
        </p:txBody>
      </p:sp>
      <p:sp>
        <p:nvSpPr>
          <p:cNvPr id="2062" name="Subtitle" hidden="1"/>
          <p:cNvSpPr txBox="1">
            <a:spLocks/>
          </p:cNvSpPr>
          <p:nvPr/>
        </p:nvSpPr>
        <p:spPr bwMode="auto">
          <a:xfrm>
            <a:off x="681405" y="1282304"/>
            <a:ext cx="7879373" cy="21813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spAutoFit/>
          </a:bodyPr>
          <a:lstStyle>
            <a:lvl1pPr>
              <a:defRPr sz="1300" b="1">
                <a:solidFill>
                  <a:schemeClr val="tx1"/>
                </a:solidFill>
                <a:latin typeface="Arial Narrow" pitchFamily="34" charset="0"/>
              </a:defRPr>
            </a:lvl1pPr>
            <a:lvl2pPr marL="742950" indent="-285750">
              <a:defRPr sz="1300" b="1">
                <a:solidFill>
                  <a:schemeClr val="tx1"/>
                </a:solidFill>
                <a:latin typeface="Arial Narrow" pitchFamily="34" charset="0"/>
              </a:defRPr>
            </a:lvl2pPr>
            <a:lvl3pPr marL="11430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3pPr>
            <a:lvl4pPr marL="16002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4pPr>
            <a:lvl5pPr marL="2057400" indent="-228600">
              <a:defRPr sz="1300" b="1">
                <a:solidFill>
                  <a:schemeClr val="tx1"/>
                </a:solidFill>
                <a:latin typeface="Arial Narrow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chemeClr val="tx1"/>
                </a:solidFill>
                <a:latin typeface="Arial Narrow" pitchFamily="34" charset="0"/>
              </a:defRPr>
            </a:lvl9pPr>
          </a:lstStyle>
          <a:p>
            <a:pPr eaLnBrk="1" hangingPunct="1">
              <a:lnSpc>
                <a:spcPct val="90000"/>
              </a:lnSpc>
              <a:buClr>
                <a:schemeClr val="tx1"/>
              </a:buClr>
              <a:buSzPct val="100000"/>
              <a:defRPr/>
            </a:pPr>
            <a:r>
              <a:rPr lang="fr-FR" altLang="en-US" sz="1575" b="0">
                <a:solidFill>
                  <a:schemeClr val="tx2"/>
                </a:solidFill>
                <a:latin typeface="Arial" pitchFamily="34" charset="0"/>
                <a:sym typeface="+mn-lt"/>
              </a:rPr>
              <a:t>Subtitle</a:t>
            </a:r>
          </a:p>
        </p:txBody>
      </p:sp>
      <p:sp>
        <p:nvSpPr>
          <p:cNvPr id="14352" name="Text Placeholder"/>
          <p:cNvSpPr>
            <a:spLocks noGrp="1"/>
          </p:cNvSpPr>
          <p:nvPr>
            <p:ph type="body" idx="1"/>
          </p:nvPr>
        </p:nvSpPr>
        <p:spPr bwMode="auto">
          <a:xfrm>
            <a:off x="681405" y="1282304"/>
            <a:ext cx="7879373" cy="963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en-US">
                <a:sym typeface="+mn-lt"/>
              </a:rPr>
              <a:t>Click to edit Master text styles – Level 0</a:t>
            </a:r>
          </a:p>
          <a:p>
            <a:pPr lvl="1"/>
            <a:r>
              <a:rPr lang="fr-FR" altLang="en-US">
                <a:sym typeface="+mn-lt"/>
              </a:rPr>
              <a:t>Level 1</a:t>
            </a:r>
          </a:p>
          <a:p>
            <a:pPr lvl="2"/>
            <a:r>
              <a:rPr lang="fr-FR" altLang="en-US">
                <a:sym typeface="+mn-lt"/>
              </a:rPr>
              <a:t>Level 2</a:t>
            </a:r>
          </a:p>
          <a:p>
            <a:pPr lvl="3"/>
            <a:r>
              <a:rPr lang="fr-FR" altLang="en-US">
                <a:sym typeface="+mn-lt"/>
              </a:rPr>
              <a:t>Level 3</a:t>
            </a:r>
          </a:p>
        </p:txBody>
      </p:sp>
      <p:sp>
        <p:nvSpPr>
          <p:cNvPr id="14353" name="Title Placeholder"/>
          <p:cNvSpPr>
            <a:spLocks noGrp="1"/>
          </p:cNvSpPr>
          <p:nvPr>
            <p:ph type="title"/>
          </p:nvPr>
        </p:nvSpPr>
        <p:spPr bwMode="auto">
          <a:xfrm>
            <a:off x="681405" y="286941"/>
            <a:ext cx="7879373" cy="451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en-US">
                <a:sym typeface="+mn-lt"/>
              </a:rPr>
              <a:t>Click to edit Master title style</a:t>
            </a:r>
          </a:p>
        </p:txBody>
      </p:sp>
      <p:grpSp>
        <p:nvGrpSpPr>
          <p:cNvPr id="14354" name="Drawing grid" hidden="1"/>
          <p:cNvGrpSpPr>
            <a:grpSpLocks/>
          </p:cNvGrpSpPr>
          <p:nvPr/>
        </p:nvGrpSpPr>
        <p:grpSpPr bwMode="auto">
          <a:xfrm>
            <a:off x="0" y="0"/>
            <a:ext cx="9144000" cy="5143500"/>
            <a:chOff x="0" y="0"/>
            <a:chExt cx="9906000" cy="6858000"/>
          </a:xfrm>
        </p:grpSpPr>
        <p:cxnSp>
          <p:nvCxnSpPr>
            <p:cNvPr id="27" name="!!!Do not delete!!!" hidden="1"/>
            <p:cNvCxnSpPr/>
            <p:nvPr/>
          </p:nvCxnSpPr>
          <p:spPr>
            <a:xfrm>
              <a:off x="738188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!!!Do not delete!!!" hidden="1"/>
            <p:cNvCxnSpPr/>
            <p:nvPr/>
          </p:nvCxnSpPr>
          <p:spPr>
            <a:xfrm>
              <a:off x="1084263" y="0"/>
              <a:ext cx="0" cy="720725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!!!Do not delete!!!" hidden="1"/>
            <p:cNvCxnSpPr/>
            <p:nvPr/>
          </p:nvCxnSpPr>
          <p:spPr>
            <a:xfrm>
              <a:off x="9271000" y="0"/>
              <a:ext cx="0" cy="685800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!!!Do not delete!!!" hidden="1"/>
            <p:cNvCxnSpPr/>
            <p:nvPr/>
          </p:nvCxnSpPr>
          <p:spPr>
            <a:xfrm>
              <a:off x="0" y="2206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!!!Do not delete!!!" hidden="1"/>
            <p:cNvCxnSpPr/>
            <p:nvPr/>
          </p:nvCxnSpPr>
          <p:spPr>
            <a:xfrm>
              <a:off x="0" y="495300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!!!Do not delete!!!" hidden="1"/>
            <p:cNvCxnSpPr/>
            <p:nvPr/>
          </p:nvCxnSpPr>
          <p:spPr>
            <a:xfrm>
              <a:off x="0" y="72072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!!!Do not delete!!!" hidden="1"/>
            <p:cNvCxnSpPr/>
            <p:nvPr/>
          </p:nvCxnSpPr>
          <p:spPr>
            <a:xfrm>
              <a:off x="0" y="6418263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!!!Do not delete!!!" hidden="1"/>
            <p:cNvCxnSpPr/>
            <p:nvPr/>
          </p:nvCxnSpPr>
          <p:spPr>
            <a:xfrm>
              <a:off x="0" y="6708775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!!!Do not delete!!!" hidden="1"/>
            <p:cNvCxnSpPr/>
            <p:nvPr/>
          </p:nvCxnSpPr>
          <p:spPr>
            <a:xfrm>
              <a:off x="0" y="1709738"/>
              <a:ext cx="9906000" cy="0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!!!Do not delete!!!" hidden="1"/>
            <p:cNvCxnSpPr/>
            <p:nvPr/>
          </p:nvCxnSpPr>
          <p:spPr>
            <a:xfrm>
              <a:off x="549275" y="2178050"/>
              <a:ext cx="8939213" cy="0"/>
            </a:xfrm>
            <a:prstGeom prst="line">
              <a:avLst/>
            </a:prstGeom>
            <a:ln w="3175" cap="sq">
              <a:solidFill>
                <a:schemeClr val="accent2"/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!!!Do not delete!!!" hidden="1"/>
            <p:cNvCxnSpPr>
              <a:cxnSpLocks/>
            </p:cNvCxnSpPr>
            <p:nvPr userDrawn="1"/>
          </p:nvCxnSpPr>
          <p:spPr>
            <a:xfrm>
              <a:off x="7867650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!!!Do not delete!!!" hidden="1"/>
            <p:cNvCxnSpPr>
              <a:cxnSpLocks/>
            </p:cNvCxnSpPr>
            <p:nvPr userDrawn="1"/>
          </p:nvCxnSpPr>
          <p:spPr>
            <a:xfrm>
              <a:off x="8277225" y="0"/>
              <a:ext cx="0" cy="719138"/>
            </a:xfrm>
            <a:prstGeom prst="line">
              <a:avLst/>
            </a:prstGeom>
            <a:ln w="3175" cap="sq">
              <a:solidFill>
                <a:schemeClr val="accent2">
                  <a:lumMod val="90000"/>
                </a:schemeClr>
              </a:solidFill>
              <a:prstDash val="sysDot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06901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</p:sldLayoutIdLst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lang="fr-FR" sz="1725" kern="1200" dirty="0">
          <a:solidFill>
            <a:srgbClr val="002060"/>
          </a:solidFill>
          <a:latin typeface="+mj-lt"/>
          <a:ea typeface="+mj-ea"/>
          <a:cs typeface="+mj-cs"/>
          <a:sym typeface="+mn-lt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tabLst>
          <a:tab pos="939404" algn="l"/>
        </a:tabLst>
        <a:defRPr sz="1725">
          <a:solidFill>
            <a:srgbClr val="002060"/>
          </a:solidFill>
          <a:latin typeface="Arial" pitchFamily="34" charset="0"/>
          <a:sym typeface="+mn-lt"/>
        </a:defRPr>
      </a:lvl9pPr>
    </p:titleStyle>
    <p:body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Font typeface="Arial Narrow" pitchFamily="34" charset="0"/>
        <a:defRPr lang="en-US" sz="1425" b="1" kern="1200" dirty="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72641" indent="-172641" algn="l" rtl="0" eaLnBrk="0" fontAlgn="base" hangingPunct="0">
        <a:lnSpc>
          <a:spcPct val="90000"/>
        </a:lnSpc>
        <a:spcBef>
          <a:spcPts val="900"/>
        </a:spcBef>
        <a:spcAft>
          <a:spcPct val="0"/>
        </a:spcAft>
        <a:buClr>
          <a:srgbClr val="808080"/>
        </a:buClr>
        <a:buFont typeface="Wingdings" pitchFamily="2" charset="2"/>
        <a:buChar char="§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2pPr>
      <a:lvl3pPr marL="360760" indent="-175022" algn="l" rtl="0" eaLnBrk="0" fontAlgn="base" hangingPunct="0">
        <a:lnSpc>
          <a:spcPct val="90000"/>
        </a:lnSpc>
        <a:spcBef>
          <a:spcPts val="300"/>
        </a:spcBef>
        <a:spcAft>
          <a:spcPct val="0"/>
        </a:spcAft>
        <a:buFont typeface="Arial Narrow" pitchFamily="34" charset="0"/>
        <a:buChar char="–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3pPr>
      <a:lvl4pPr marL="522685" indent="-150019" algn="l" rtl="0" eaLnBrk="0" fontAlgn="base" hangingPunct="0">
        <a:lnSpc>
          <a:spcPct val="90000"/>
        </a:lnSpc>
        <a:spcBef>
          <a:spcPts val="150"/>
        </a:spcBef>
        <a:spcAft>
          <a:spcPct val="0"/>
        </a:spcAft>
        <a:buFont typeface="Arial Narrow" pitchFamily="34" charset="0"/>
        <a:buChar char="-"/>
        <a:defRPr lang="en-US" sz="1425" kern="1200" dirty="0">
          <a:solidFill>
            <a:srgbClr val="808080"/>
          </a:solidFill>
          <a:latin typeface="+mn-lt"/>
          <a:ea typeface="+mn-ea"/>
          <a:cs typeface="+mn-cs"/>
          <a:sym typeface="+mn-lt"/>
        </a:defRPr>
      </a:lvl4pPr>
      <a:lvl5pPr marL="522685" algn="l" rtl="0" eaLnBrk="0" fontAlgn="base" hangingPunct="0">
        <a:lnSpc>
          <a:spcPct val="93000"/>
        </a:lnSpc>
        <a:spcBef>
          <a:spcPct val="0"/>
        </a:spcBef>
        <a:spcAft>
          <a:spcPct val="0"/>
        </a:spcAft>
        <a:buFont typeface="Arial Narrow" pitchFamily="34" charset="0"/>
        <a:defRPr sz="1275" kern="1200">
          <a:solidFill>
            <a:schemeClr val="tx1"/>
          </a:solidFill>
          <a:latin typeface="Arial Narrow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 Narrow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6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2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3.xml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7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0.xml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1.xml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3.xml"/><Relationship Id="rId5" Type="http://schemas.openxmlformats.org/officeDocument/2006/relationships/hyperlink" Target="mailto:mentor@developpement-durable.gouv.fr" TargetMode="External"/><Relationship Id="rId4" Type="http://schemas.openxmlformats.org/officeDocument/2006/relationships/hyperlink" Target="mailto:assistance-connexion-mentor@developpement-durable.gouv.fr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4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0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1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1500544" y="1203598"/>
            <a:ext cx="6696744" cy="1923504"/>
          </a:xfrm>
        </p:spPr>
        <p:txBody>
          <a:bodyPr/>
          <a:lstStyle/>
          <a:p>
            <a:pPr algn="ctr"/>
            <a:r>
              <a:rPr lang="fr-FR" sz="24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Rencontres de la e formation</a:t>
            </a:r>
          </a:p>
          <a:p>
            <a:pPr algn="ctr"/>
            <a:r>
              <a:rPr lang="fr-FR" sz="24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La Défense</a:t>
            </a:r>
          </a:p>
          <a:p>
            <a:pPr algn="ctr"/>
            <a:r>
              <a:rPr lang="fr-FR" sz="2400" dirty="0">
                <a:solidFill>
                  <a:schemeClr val="accent1">
                    <a:lumMod val="90000"/>
                    <a:lumOff val="10000"/>
                  </a:schemeClr>
                </a:solidFill>
              </a:rPr>
              <a:t>9 novembre 2023</a:t>
            </a:r>
          </a:p>
          <a:p>
            <a:pPr algn="ctr"/>
            <a:endParaRPr lang="fr-FR" sz="2400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  <a:p>
            <a:pPr algn="ctr"/>
            <a:r>
              <a:rPr lang="fr-FR" sz="2400" i="1" cap="none" dirty="0"/>
              <a:t>Processus de création d’une formation à distance au sein du pôle ministériel</a:t>
            </a:r>
            <a:endParaRPr lang="fr-FR" sz="2400" i="1" cap="none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 dirty="0"/>
              <a:t>Février 2022</a:t>
            </a: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dirty="0"/>
              <a:t>DRH/SD/FORCQ/FORCQ2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220" y="3923552"/>
            <a:ext cx="3336781" cy="71157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1640" y="3523502"/>
            <a:ext cx="1304925" cy="40005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111373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</p:nvPr>
        </p:nvGraphicFramePr>
        <p:xfrm>
          <a:off x="360363" y="1836738"/>
          <a:ext cx="8423275" cy="2573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0</a:t>
            </a:fld>
            <a:endParaRPr lang="fr-FR"/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>
          <a:solidFill>
            <a:schemeClr val="accent1"/>
          </a:solidFill>
        </p:spPr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Deux outils d’accompagnement construits avec les membres de la communauté ministériel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7979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4951" y="195486"/>
            <a:ext cx="8424000" cy="519205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fr-FR" sz="2000" dirty="0"/>
              <a:t>Une stratégie d’accompagnement des acteurs MENTOR (informer, impliquer, former) : les grands axes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1</a:t>
            </a:fld>
            <a:endParaRPr lang="fr-FR" dirty="0"/>
          </a:p>
        </p:txBody>
      </p:sp>
      <p:graphicFrame>
        <p:nvGraphicFramePr>
          <p:cNvPr id="8" name="Espace réservé du contenu 7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843605938"/>
              </p:ext>
            </p:extLst>
          </p:nvPr>
        </p:nvGraphicFramePr>
        <p:xfrm>
          <a:off x="360363" y="1275606"/>
          <a:ext cx="8423275" cy="3134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Espace réservé de la date 2"/>
          <p:cNvSpPr txBox="1">
            <a:spLocks/>
          </p:cNvSpPr>
          <p:nvPr/>
        </p:nvSpPr>
        <p:spPr bwMode="gray">
          <a:xfrm>
            <a:off x="7614000" y="4783500"/>
            <a:ext cx="90267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7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cap="all"/>
              <a:t>9/11/2023</a:t>
            </a:r>
            <a:endParaRPr lang="fr-FR" cap="all" dirty="0"/>
          </a:p>
        </p:txBody>
      </p:sp>
    </p:spTree>
    <p:extLst>
      <p:ext uri="{BB962C8B-B14F-4D97-AF65-F5344CB8AC3E}">
        <p14:creationId xmlns:p14="http://schemas.microsoft.com/office/powerpoint/2010/main" val="15057156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31640" y="267494"/>
            <a:ext cx="7272808" cy="720000"/>
          </a:xfrm>
        </p:spPr>
        <p:txBody>
          <a:bodyPr/>
          <a:lstStyle/>
          <a:p>
            <a:r>
              <a:rPr lang="fr-FR" sz="2000" dirty="0"/>
              <a:t>Une attention particulière portée </a:t>
            </a:r>
            <a:br>
              <a:rPr lang="fr-FR" sz="2000" dirty="0"/>
            </a:br>
            <a:r>
              <a:rPr lang="fr-FR" sz="2000" dirty="0"/>
              <a:t>aux chefs de projet formation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7614000" y="4783500"/>
            <a:ext cx="902679" cy="360000"/>
          </a:xfrm>
        </p:spPr>
        <p:txBody>
          <a:bodyPr/>
          <a:lstStyle/>
          <a:p>
            <a:r>
              <a:rPr lang="fr-FR" cap="all" dirty="0"/>
              <a:t>9/11/2023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2</a:t>
            </a:fld>
            <a:endParaRPr lang="fr-FR" dirty="0"/>
          </a:p>
        </p:txBody>
      </p:sp>
      <p:graphicFrame>
        <p:nvGraphicFramePr>
          <p:cNvPr id="9" name="Espace réservé du contenu 8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519874979"/>
              </p:ext>
            </p:extLst>
          </p:nvPr>
        </p:nvGraphicFramePr>
        <p:xfrm>
          <a:off x="360725" y="1145572"/>
          <a:ext cx="8423275" cy="3422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904832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fr-FR" sz="3200" dirty="0"/>
              <a:t>Des questions, des remarques ou des observations ?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37244-DB24-4054-BBF2-56A2B33F25B4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99717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60000" y="2067694"/>
            <a:ext cx="8424000" cy="720000"/>
          </a:xfrm>
        </p:spPr>
        <p:txBody>
          <a:bodyPr/>
          <a:lstStyle/>
          <a:p>
            <a:pPr algn="ctr"/>
            <a:r>
              <a:rPr lang="fr-FR" dirty="0"/>
              <a:t>Les formations sur notre espace ministériel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fr-FR" cap="all"/>
              <a:t>XX/XX/XXXX</a:t>
            </a:r>
            <a:endParaRPr lang="fr-FR" cap="all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Intitulé de la direction/service interministérielle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1477635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5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979712" y="188403"/>
            <a:ext cx="6552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/>
              <a:t>Partage de formations en interministériel</a:t>
            </a:r>
            <a:endParaRPr lang="fr-FR" sz="1600" i="1" dirty="0"/>
          </a:p>
        </p:txBody>
      </p:sp>
      <p:graphicFrame>
        <p:nvGraphicFramePr>
          <p:cNvPr id="9" name="Graphique 8"/>
          <p:cNvGraphicFramePr/>
          <p:nvPr>
            <p:extLst>
              <p:ext uri="{D42A27DB-BD31-4B8C-83A1-F6EECF244321}">
                <p14:modId xmlns:p14="http://schemas.microsoft.com/office/powerpoint/2010/main" val="3572354099"/>
              </p:ext>
            </p:extLst>
          </p:nvPr>
        </p:nvGraphicFramePr>
        <p:xfrm>
          <a:off x="539552" y="1015690"/>
          <a:ext cx="7920880" cy="3184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Rectangle 7"/>
          <p:cNvSpPr/>
          <p:nvPr/>
        </p:nvSpPr>
        <p:spPr>
          <a:xfrm>
            <a:off x="6625771" y="4299942"/>
            <a:ext cx="23387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400" i="1" dirty="0"/>
              <a:t>chiffres clés au 3/11/2023 </a:t>
            </a:r>
            <a:endParaRPr lang="fr-FR" sz="14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91147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/>
              <a:t>Notre espace ministériel	</a:t>
            </a:r>
            <a:r>
              <a:rPr lang="fr-FR" dirty="0"/>
              <a:t>		</a:t>
            </a:r>
            <a:r>
              <a:rPr lang="fr-FR" sz="1200" i="1" dirty="0"/>
              <a:t>chiffres clés au 3/11/2023 </a:t>
            </a:r>
          </a:p>
          <a:p>
            <a:endParaRPr lang="fr-FR" dirty="0"/>
          </a:p>
        </p:txBody>
      </p:sp>
      <p:sp>
        <p:nvSpPr>
          <p:cNvPr id="7" name="Rectangle : coins arrondis 4">
            <a:extLst>
              <a:ext uri="{FF2B5EF4-FFF2-40B4-BE49-F238E27FC236}">
                <a16:creationId xmlns:a16="http://schemas.microsoft.com/office/drawing/2014/main" id="{CCF287C3-9312-04C0-9068-A139EC99BB59}"/>
              </a:ext>
            </a:extLst>
          </p:cNvPr>
          <p:cNvSpPr txBox="1"/>
          <p:nvPr/>
        </p:nvSpPr>
        <p:spPr>
          <a:xfrm>
            <a:off x="1691680" y="1059582"/>
            <a:ext cx="6480720" cy="344382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fr-FR" sz="6000" b="1" kern="1200" dirty="0">
                <a:solidFill>
                  <a:schemeClr val="tx1"/>
                </a:solidFill>
              </a:rPr>
              <a:t>43</a:t>
            </a:r>
            <a:r>
              <a:rPr lang="fr-FR" sz="2800" b="1" kern="1200" dirty="0">
                <a:solidFill>
                  <a:schemeClr val="tx1"/>
                </a:solidFill>
              </a:rPr>
              <a:t> formations</a:t>
            </a:r>
          </a:p>
          <a:p>
            <a:pPr marL="914400" lvl="1" indent="-45720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chemeClr val="tx1"/>
                </a:solidFill>
              </a:rPr>
              <a:t>27</a:t>
            </a:r>
            <a:r>
              <a:rPr lang="fr-FR" b="1" dirty="0">
                <a:solidFill>
                  <a:schemeClr val="tx1"/>
                </a:solidFill>
              </a:rPr>
              <a:t>	</a:t>
            </a:r>
            <a:r>
              <a:rPr lang="fr-FR" dirty="0">
                <a:solidFill>
                  <a:schemeClr val="tx1"/>
                </a:solidFill>
              </a:rPr>
              <a:t>en libre service</a:t>
            </a:r>
          </a:p>
          <a:p>
            <a:pPr marL="914400" lvl="1" indent="-45720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fr-FR" sz="3200" b="1" kern="1200" dirty="0">
                <a:solidFill>
                  <a:schemeClr val="tx1"/>
                </a:solidFill>
              </a:rPr>
              <a:t>11	</a:t>
            </a:r>
            <a:r>
              <a:rPr lang="fr-FR" kern="1200" dirty="0">
                <a:solidFill>
                  <a:schemeClr val="tx1"/>
                </a:solidFill>
              </a:rPr>
              <a:t>en inscription sur session (CMVRH)</a:t>
            </a:r>
          </a:p>
          <a:p>
            <a:pPr marL="914400" lvl="1" indent="-45720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Arial" panose="020B0604020202020204" pitchFamily="34" charset="0"/>
              <a:buChar char="•"/>
            </a:pPr>
            <a:r>
              <a:rPr lang="fr-FR" sz="3200" b="1" dirty="0">
                <a:solidFill>
                  <a:schemeClr val="tx1"/>
                </a:solidFill>
              </a:rPr>
              <a:t>5</a:t>
            </a:r>
            <a:r>
              <a:rPr lang="fr-FR" dirty="0">
                <a:solidFill>
                  <a:schemeClr val="tx1"/>
                </a:solidFill>
              </a:rPr>
              <a:t>	en inscription au fil de l’eau</a:t>
            </a:r>
          </a:p>
          <a:p>
            <a:pPr lvl="1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600" kern="1200" dirty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21963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691680" y="195486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/>
              <a:t>Taux de complétion (sur Mentor)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5FC3836-1329-1B6A-C165-2F6FDCC3D4A7}"/>
              </a:ext>
            </a:extLst>
          </p:cNvPr>
          <p:cNvSpPr txBox="1"/>
          <p:nvPr/>
        </p:nvSpPr>
        <p:spPr>
          <a:xfrm>
            <a:off x="1403648" y="1807815"/>
            <a:ext cx="59406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dirty="0"/>
              <a:t>Mesure le suivi d’une formation</a:t>
            </a:r>
          </a:p>
          <a:p>
            <a:endParaRPr lang="fr-FR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fr-FR" sz="2400" dirty="0"/>
              <a:t>Echelle de 0 à 100%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0948663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b="1" dirty="0"/>
              <a:t>Taux de complétion (sur Mentor)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5FC3836-1329-1B6A-C165-2F6FDCC3D4A7}"/>
              </a:ext>
            </a:extLst>
          </p:cNvPr>
          <p:cNvSpPr txBox="1"/>
          <p:nvPr/>
        </p:nvSpPr>
        <p:spPr>
          <a:xfrm>
            <a:off x="360000" y="843558"/>
            <a:ext cx="84249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e taux de complétion dépend des activités </a:t>
            </a:r>
            <a:r>
              <a:rPr lang="fr-FR" b="1" dirty="0"/>
              <a:t>traçables</a:t>
            </a:r>
            <a:r>
              <a:rPr lang="fr-FR" dirty="0"/>
              <a:t> par la plateforme :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C3E10F9-7D82-A795-2994-C2490FA67614}"/>
              </a:ext>
            </a:extLst>
          </p:cNvPr>
          <p:cNvSpPr txBox="1"/>
          <p:nvPr/>
        </p:nvSpPr>
        <p:spPr>
          <a:xfrm>
            <a:off x="353111" y="3363838"/>
            <a:ext cx="7920880" cy="1200329"/>
          </a:xfrm>
          <a:prstGeom prst="rect">
            <a:avLst/>
          </a:prstGeom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Visionnage de vidéo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Téléchargement de fichi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Lecture de blocs de tex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/>
              <a:t>…</a:t>
            </a:r>
          </a:p>
        </p:txBody>
      </p:sp>
      <p:sp>
        <p:nvSpPr>
          <p:cNvPr id="4" name="Rectangle 3"/>
          <p:cNvSpPr/>
          <p:nvPr/>
        </p:nvSpPr>
        <p:spPr>
          <a:xfrm>
            <a:off x="371347" y="1209955"/>
            <a:ext cx="7884408" cy="1656184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Quiz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Activités « </a:t>
            </a:r>
            <a:r>
              <a:rPr lang="fr-FR" dirty="0" err="1">
                <a:solidFill>
                  <a:schemeClr val="tx1"/>
                </a:solidFill>
              </a:rPr>
              <a:t>scormées</a:t>
            </a:r>
            <a:r>
              <a:rPr lang="fr-FR" dirty="0">
                <a:solidFill>
                  <a:schemeClr val="tx1"/>
                </a:solidFill>
              </a:rPr>
              <a:t> »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Questionnaire de satisfa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Participation aux forums, aux classes virtuell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Devoirs « notés »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…</a:t>
            </a:r>
          </a:p>
        </p:txBody>
      </p:sp>
      <p:sp>
        <p:nvSpPr>
          <p:cNvPr id="8" name="Rectangle 7"/>
          <p:cNvSpPr/>
          <p:nvPr/>
        </p:nvSpPr>
        <p:spPr>
          <a:xfrm>
            <a:off x="323528" y="2994506"/>
            <a:ext cx="30470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dirty="0"/>
              <a:t>Ce qui n’est </a:t>
            </a:r>
            <a:r>
              <a:rPr lang="fr-FR" b="1" dirty="0"/>
              <a:t>pas traçable </a:t>
            </a:r>
            <a:r>
              <a:rPr lang="fr-FR" dirty="0"/>
              <a:t>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525909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400" dirty="0"/>
              <a:t>Achèvement de cours sur Mentor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5FC3836-1329-1B6A-C165-2F6FDCC3D4A7}"/>
              </a:ext>
            </a:extLst>
          </p:cNvPr>
          <p:cNvSpPr txBox="1"/>
          <p:nvPr/>
        </p:nvSpPr>
        <p:spPr>
          <a:xfrm>
            <a:off x="360000" y="843558"/>
            <a:ext cx="84249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’achèvement de formation se paramètre à partir d’une sélection d’activités traçables de la forma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378E5E83-920B-D808-84ED-B54D8029A3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051" y="1635646"/>
            <a:ext cx="7883897" cy="2863577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3CCEEDD7-2974-BEF5-C9B3-6A58AAA66FAB}"/>
              </a:ext>
            </a:extLst>
          </p:cNvPr>
          <p:cNvSpPr/>
          <p:nvPr/>
        </p:nvSpPr>
        <p:spPr>
          <a:xfrm>
            <a:off x="2627784" y="3629636"/>
            <a:ext cx="3312368" cy="1221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04603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7C36DA-B742-4E72-83A3-A3A1717BB23B}" type="datetime1">
              <a:rPr kumimoji="0" lang="fr-FR" sz="750" b="1" i="0" u="none" strike="noStrike" kern="1200" cap="all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09/11/2023</a:t>
            </a:fld>
            <a:endParaRPr kumimoji="0" lang="fr-FR" sz="750" b="1" i="0" u="none" strike="noStrike" kern="1200" cap="all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3122C9-A0B9-462F-8757-0847AD287B63}" type="slidenum">
              <a:rPr kumimoji="0" lang="fr-FR" sz="7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7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360000" y="1923678"/>
            <a:ext cx="8424000" cy="2808312"/>
          </a:xfrm>
        </p:spPr>
        <p:txBody>
          <a:bodyPr/>
          <a:lstStyle/>
          <a:p>
            <a:r>
              <a:rPr lang="fr-FR" dirty="0"/>
              <a:t>QU’est-ce que Mentor ?</a:t>
            </a:r>
          </a:p>
          <a:p>
            <a:endParaRPr lang="fr-F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600" dirty="0"/>
              <a:t>Un programme pour favoriser la mutualisation des ressources de formation entre les ministères et la montée en compétences des agents</a:t>
            </a:r>
          </a:p>
          <a:p>
            <a:endParaRPr lang="fr-FR" sz="1600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fr-FR" sz="1600" dirty="0"/>
              <a:t>un programme au service de la stratégie du numérique en formation pour le pôle ministériel</a:t>
            </a:r>
          </a:p>
          <a:p>
            <a:pPr marL="717750" lvl="2" indent="-285750">
              <a:buFont typeface="Wingdings" panose="05000000000000000000" pitchFamily="2" charset="2"/>
              <a:buChar char="Ø"/>
            </a:pPr>
            <a:r>
              <a:rPr lang="fr-FR" sz="1000" dirty="0"/>
              <a:t>Pour faciliter l’accès aux formations des agents</a:t>
            </a:r>
          </a:p>
          <a:p>
            <a:pPr marL="717750" lvl="2" indent="-285750">
              <a:buFont typeface="Wingdings" panose="05000000000000000000" pitchFamily="2" charset="2"/>
              <a:buChar char="Ø"/>
            </a:pPr>
            <a:r>
              <a:rPr lang="fr-FR" sz="1000" dirty="0"/>
              <a:t>Pour limiter la mobilisation des formateurs internes occasionnels aux actions pédagogiques essentielles dans la mesure où Mentor permet l’hybridation des formations </a:t>
            </a:r>
          </a:p>
          <a:p>
            <a:pPr marL="717750" lvl="2" indent="-285750">
              <a:buFont typeface="Wingdings" panose="05000000000000000000" pitchFamily="2" charset="2"/>
              <a:buChar char="Ø"/>
            </a:pPr>
            <a:r>
              <a:rPr lang="fr-FR" sz="1000" dirty="0"/>
              <a:t>Pour conforter la pédagogie pour adulte au sein de notre pôle</a:t>
            </a:r>
          </a:p>
          <a:p>
            <a:pPr marL="897750" lvl="3" indent="-285750">
              <a:buFont typeface="Wingdings" panose="05000000000000000000" pitchFamily="2" charset="2"/>
              <a:buChar char="§"/>
            </a:pPr>
            <a:endParaRPr lang="fr-FR" sz="1000" dirty="0"/>
          </a:p>
        </p:txBody>
      </p:sp>
    </p:spTree>
    <p:extLst>
      <p:ext uri="{BB962C8B-B14F-4D97-AF65-F5344CB8AC3E}">
        <p14:creationId xmlns:p14="http://schemas.microsoft.com/office/powerpoint/2010/main" val="419966553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AAD959-E17C-7E8F-A521-F62037FF96D1}"/>
              </a:ext>
            </a:extLst>
          </p:cNvPr>
          <p:cNvSpPr txBox="1"/>
          <p:nvPr/>
        </p:nvSpPr>
        <p:spPr>
          <a:xfrm>
            <a:off x="2007338" y="432007"/>
            <a:ext cx="5733014" cy="658410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Être éco-responsable dans son quotidien professionnel</a:t>
            </a:r>
          </a:p>
        </p:txBody>
      </p:sp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FEE7D00E-D209-7622-3A4B-86D1063098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3727639"/>
              </p:ext>
            </p:extLst>
          </p:nvPr>
        </p:nvGraphicFramePr>
        <p:xfrm>
          <a:off x="683568" y="1419622"/>
          <a:ext cx="3316662" cy="2631832"/>
        </p:xfrm>
        <a:graphic>
          <a:graphicData uri="http://schemas.openxmlformats.org/drawingml/2006/table">
            <a:tbl>
              <a:tblPr/>
              <a:tblGrid>
                <a:gridCol w="1194003">
                  <a:extLst>
                    <a:ext uri="{9D8B030D-6E8A-4147-A177-3AD203B41FA5}">
                      <a16:colId xmlns:a16="http://schemas.microsoft.com/office/drawing/2014/main" val="1795758351"/>
                    </a:ext>
                  </a:extLst>
                </a:gridCol>
                <a:gridCol w="2122659">
                  <a:extLst>
                    <a:ext uri="{9D8B030D-6E8A-4147-A177-3AD203B41FA5}">
                      <a16:colId xmlns:a16="http://schemas.microsoft.com/office/drawing/2014/main" val="4241056317"/>
                    </a:ext>
                  </a:extLst>
                </a:gridCol>
              </a:tblGrid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 dirty="0">
                          <a:effectLst/>
                          <a:latin typeface="Liberation Sans" panose="020B0604020202020204" pitchFamily="34" charset="0"/>
                        </a:rPr>
                        <a:t>Progression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Nombre Apprenants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1229238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 b="1">
                          <a:effectLst/>
                          <a:latin typeface="Liberation Sans" panose="020B0604020202020204" pitchFamily="34" charset="0"/>
                        </a:rPr>
                        <a:t>0</a:t>
                      </a:r>
                      <a:endParaRPr lang="fr-FR" sz="12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1">
                          <a:effectLst/>
                          <a:latin typeface="Liberation Sans" panose="020B0604020202020204" pitchFamily="34" charset="0"/>
                        </a:rPr>
                        <a:t>486</a:t>
                      </a:r>
                      <a:endParaRPr lang="fr-FR" sz="12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0289775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1 à 20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253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64610666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21 à 50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dirty="0">
                          <a:effectLst/>
                          <a:latin typeface="Liberation Sans" panose="020B0604020202020204" pitchFamily="34" charset="0"/>
                        </a:rPr>
                        <a:t>91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8522577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51 à 75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22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0276158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76 à 99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34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5262779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 b="1">
                          <a:effectLst/>
                          <a:latin typeface="Liberation Sans" panose="020B0604020202020204" pitchFamily="34" charset="0"/>
                        </a:rPr>
                        <a:t>100,00 %</a:t>
                      </a:r>
                      <a:endParaRPr lang="fr-FR" sz="12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1">
                          <a:effectLst/>
                          <a:latin typeface="Liberation Sans" panose="020B0604020202020204" pitchFamily="34" charset="0"/>
                        </a:rPr>
                        <a:t>268</a:t>
                      </a:r>
                      <a:endParaRPr lang="fr-FR" sz="12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3032904"/>
                  </a:ext>
                </a:extLst>
              </a:tr>
              <a:tr h="328979">
                <a:tc>
                  <a:txBody>
                    <a:bodyPr/>
                    <a:lstStyle/>
                    <a:p>
                      <a:pPr algn="l"/>
                      <a:r>
                        <a:rPr lang="fr-FR" sz="1200">
                          <a:effectLst/>
                          <a:latin typeface="Liberation Sans" panose="020B0604020202020204" pitchFamily="34" charset="0"/>
                        </a:rPr>
                        <a:t>Total inscrits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200" b="1" dirty="0">
                          <a:effectLst/>
                          <a:latin typeface="Liberation Sans" panose="020B0604020202020204" pitchFamily="34" charset="0"/>
                        </a:rPr>
                        <a:t>1154</a:t>
                      </a:r>
                      <a:endParaRPr lang="fr-FR" sz="12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1268169"/>
                  </a:ext>
                </a:extLst>
              </a:tr>
            </a:tbl>
          </a:graphicData>
        </a:graphic>
      </p:graphicFrame>
      <p:sp>
        <p:nvSpPr>
          <p:cNvPr id="2" name="ZoneTexte 1">
            <a:extLst>
              <a:ext uri="{FF2B5EF4-FFF2-40B4-BE49-F238E27FC236}">
                <a16:creationId xmlns:a16="http://schemas.microsoft.com/office/drawing/2014/main" id="{CDA2A46F-792C-9D42-2768-FF3E88426B61}"/>
              </a:ext>
            </a:extLst>
          </p:cNvPr>
          <p:cNvSpPr txBox="1"/>
          <p:nvPr/>
        </p:nvSpPr>
        <p:spPr>
          <a:xfrm>
            <a:off x="4788024" y="2139702"/>
            <a:ext cx="3600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Achèvement de la formation sur </a:t>
            </a:r>
            <a:r>
              <a:rPr lang="fr-FR" b="1" dirty="0"/>
              <a:t>4</a:t>
            </a:r>
            <a:r>
              <a:rPr lang="fr-FR" dirty="0"/>
              <a:t> activités traçables </a:t>
            </a:r>
            <a:r>
              <a:rPr lang="fr-FR" b="1" dirty="0"/>
              <a:t>sur 38 </a:t>
            </a:r>
            <a:r>
              <a:rPr lang="fr-FR" dirty="0"/>
              <a:t>possib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47318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54BCEA6-59C0-6846-02D9-32A496321AC7}"/>
              </a:ext>
            </a:extLst>
          </p:cNvPr>
          <p:cNvSpPr txBox="1"/>
          <p:nvPr/>
        </p:nvSpPr>
        <p:spPr>
          <a:xfrm>
            <a:off x="198359" y="847144"/>
            <a:ext cx="4154426" cy="369332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/>
          </a:lstStyle>
          <a:p>
            <a:r>
              <a:rPr lang="fr-FR" dirty="0"/>
              <a:t>Administration éco-responsabl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DE6D2DD-F119-F205-A768-A978C08ED72D}"/>
              </a:ext>
            </a:extLst>
          </p:cNvPr>
          <p:cNvSpPr txBox="1"/>
          <p:nvPr/>
        </p:nvSpPr>
        <p:spPr>
          <a:xfrm>
            <a:off x="4711819" y="645122"/>
            <a:ext cx="4213751" cy="646331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/>
          </a:lstStyle>
          <a:p>
            <a:r>
              <a:rPr lang="fr-FR" dirty="0"/>
              <a:t>30 mn pour comprendre la démarche qualité</a:t>
            </a:r>
          </a:p>
        </p:txBody>
      </p:sp>
      <p:graphicFrame>
        <p:nvGraphicFramePr>
          <p:cNvPr id="20" name="Tableau 19">
            <a:extLst>
              <a:ext uri="{FF2B5EF4-FFF2-40B4-BE49-F238E27FC236}">
                <a16:creationId xmlns:a16="http://schemas.microsoft.com/office/drawing/2014/main" id="{46E17FBA-05D5-375C-4657-8F20E8CD9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7616315"/>
              </p:ext>
            </p:extLst>
          </p:nvPr>
        </p:nvGraphicFramePr>
        <p:xfrm>
          <a:off x="5402639" y="1339955"/>
          <a:ext cx="2808312" cy="1737360"/>
        </p:xfrm>
        <a:graphic>
          <a:graphicData uri="http://schemas.openxmlformats.org/drawingml/2006/table">
            <a:tbl>
              <a:tblPr/>
              <a:tblGrid>
                <a:gridCol w="1326147">
                  <a:extLst>
                    <a:ext uri="{9D8B030D-6E8A-4147-A177-3AD203B41FA5}">
                      <a16:colId xmlns:a16="http://schemas.microsoft.com/office/drawing/2014/main" val="2992857307"/>
                    </a:ext>
                  </a:extLst>
                </a:gridCol>
                <a:gridCol w="1482165">
                  <a:extLst>
                    <a:ext uri="{9D8B030D-6E8A-4147-A177-3AD203B41FA5}">
                      <a16:colId xmlns:a16="http://schemas.microsoft.com/office/drawing/2014/main" val="1182703911"/>
                    </a:ext>
                  </a:extLst>
                </a:gridCol>
              </a:tblGrid>
              <a:tr h="460544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Progression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Nombre Apprenan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6277662"/>
                  </a:ext>
                </a:extLst>
              </a:tr>
              <a:tr h="282076">
                <a:tc>
                  <a:txBody>
                    <a:bodyPr/>
                    <a:lstStyle/>
                    <a:p>
                      <a:pPr algn="l"/>
                      <a:r>
                        <a:rPr lang="fr-FR" sz="1400" b="1">
                          <a:effectLst/>
                          <a:latin typeface="Liberation Sans" panose="020B0604020202020204" pitchFamily="34" charset="0"/>
                        </a:rPr>
                        <a:t>0 %</a:t>
                      </a:r>
                      <a:endParaRPr lang="fr-FR" sz="14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b="1" dirty="0">
                          <a:effectLst/>
                          <a:latin typeface="Liberation Sans" panose="020B0604020202020204" pitchFamily="34" charset="0"/>
                        </a:rPr>
                        <a:t>372</a:t>
                      </a:r>
                      <a:endParaRPr lang="fr-FR" sz="14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253491"/>
                  </a:ext>
                </a:extLst>
              </a:tr>
              <a:tr h="282076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50 %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111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0369267"/>
                  </a:ext>
                </a:extLst>
              </a:tr>
              <a:tr h="282076">
                <a:tc>
                  <a:txBody>
                    <a:bodyPr/>
                    <a:lstStyle/>
                    <a:p>
                      <a:pPr algn="l"/>
                      <a:r>
                        <a:rPr lang="fr-FR" sz="1400" b="1">
                          <a:effectLst/>
                          <a:latin typeface="Liberation Sans" panose="020B0604020202020204" pitchFamily="34" charset="0"/>
                        </a:rPr>
                        <a:t>100 %</a:t>
                      </a:r>
                      <a:endParaRPr lang="fr-FR" sz="14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b="1" dirty="0">
                          <a:effectLst/>
                          <a:latin typeface="Liberation Sans" panose="020B0604020202020204" pitchFamily="34" charset="0"/>
                        </a:rPr>
                        <a:t>380</a:t>
                      </a:r>
                      <a:endParaRPr lang="fr-FR" sz="14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8244984"/>
                  </a:ext>
                </a:extLst>
              </a:tr>
              <a:tr h="282076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Total inscri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b="1" dirty="0">
                          <a:effectLst/>
                          <a:latin typeface="Liberation Sans" panose="020B0604020202020204" pitchFamily="34" charset="0"/>
                        </a:rPr>
                        <a:t>863</a:t>
                      </a:r>
                      <a:endParaRPr lang="fr-FR" sz="14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920479"/>
                  </a:ext>
                </a:extLst>
              </a:tr>
            </a:tbl>
          </a:graphicData>
        </a:graphic>
      </p:graphicFrame>
      <p:graphicFrame>
        <p:nvGraphicFramePr>
          <p:cNvPr id="21" name="Tableau 20">
            <a:extLst>
              <a:ext uri="{FF2B5EF4-FFF2-40B4-BE49-F238E27FC236}">
                <a16:creationId xmlns:a16="http://schemas.microsoft.com/office/drawing/2014/main" id="{2CF27C19-18F3-003C-F407-2881DA2C46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0687348"/>
              </p:ext>
            </p:extLst>
          </p:nvPr>
        </p:nvGraphicFramePr>
        <p:xfrm>
          <a:off x="634574" y="1339955"/>
          <a:ext cx="2929314" cy="1737360"/>
        </p:xfrm>
        <a:graphic>
          <a:graphicData uri="http://schemas.openxmlformats.org/drawingml/2006/table">
            <a:tbl>
              <a:tblPr/>
              <a:tblGrid>
                <a:gridCol w="1265585">
                  <a:extLst>
                    <a:ext uri="{9D8B030D-6E8A-4147-A177-3AD203B41FA5}">
                      <a16:colId xmlns:a16="http://schemas.microsoft.com/office/drawing/2014/main" val="335082753"/>
                    </a:ext>
                  </a:extLst>
                </a:gridCol>
                <a:gridCol w="1663729">
                  <a:extLst>
                    <a:ext uri="{9D8B030D-6E8A-4147-A177-3AD203B41FA5}">
                      <a16:colId xmlns:a16="http://schemas.microsoft.com/office/drawing/2014/main" val="1040257808"/>
                    </a:ext>
                  </a:extLst>
                </a:gridCol>
              </a:tblGrid>
              <a:tr h="389070"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Liberation Sans" panose="020B0604020202020204" pitchFamily="34" charset="0"/>
                        </a:rPr>
                        <a:t>Progression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Nombre Apprenan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280925"/>
                  </a:ext>
                </a:extLst>
              </a:tr>
              <a:tr h="244479"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Liberation Sans" panose="020B0604020202020204" pitchFamily="34" charset="0"/>
                        </a:rPr>
                        <a:t>0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b="1">
                          <a:effectLst/>
                          <a:latin typeface="Liberation Sans" panose="020B0604020202020204" pitchFamily="34" charset="0"/>
                        </a:rPr>
                        <a:t>599</a:t>
                      </a:r>
                      <a:endParaRPr lang="fr-FR" sz="14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3442204"/>
                  </a:ext>
                </a:extLst>
              </a:tr>
              <a:tr h="244479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50 %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Liberation Sans" panose="020B0604020202020204" pitchFamily="34" charset="0"/>
                        </a:rPr>
                        <a:t>200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1116141"/>
                  </a:ext>
                </a:extLst>
              </a:tr>
              <a:tr h="244479">
                <a:tc>
                  <a:txBody>
                    <a:bodyPr/>
                    <a:lstStyle/>
                    <a:p>
                      <a:pPr algn="l"/>
                      <a:r>
                        <a:rPr lang="fr-FR" sz="1400">
                          <a:effectLst/>
                          <a:latin typeface="Liberation Sans" panose="020B0604020202020204" pitchFamily="34" charset="0"/>
                        </a:rPr>
                        <a:t>100 %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>
                          <a:effectLst/>
                          <a:latin typeface="Liberation Sans" panose="020B0604020202020204" pitchFamily="34" charset="0"/>
                        </a:rPr>
                        <a:t>231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2292398"/>
                  </a:ext>
                </a:extLst>
              </a:tr>
              <a:tr h="244479">
                <a:tc>
                  <a:txBody>
                    <a:bodyPr/>
                    <a:lstStyle/>
                    <a:p>
                      <a:pPr algn="l"/>
                      <a:r>
                        <a:rPr lang="fr-FR" sz="1400" dirty="0">
                          <a:effectLst/>
                          <a:latin typeface="Liberation Sans" panose="020B0604020202020204" pitchFamily="34" charset="0"/>
                        </a:rPr>
                        <a:t>Total inscri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400" b="1" dirty="0">
                          <a:effectLst/>
                          <a:latin typeface="Liberation Sans" panose="020B0604020202020204" pitchFamily="34" charset="0"/>
                        </a:rPr>
                        <a:t>1030</a:t>
                      </a:r>
                      <a:endParaRPr lang="fr-FR" sz="14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1520746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EEC070D3-1D39-7CDB-BE57-9E2E36F4FD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359" y="3186349"/>
            <a:ext cx="3620748" cy="1263995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D27B856A-857D-52B0-CCE8-354E12C3D6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99919" y="3186349"/>
            <a:ext cx="4213752" cy="152335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6598919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D9298-F2A9-4704-9940-A33057864645}" type="slidenum">
              <a:rPr kumimoji="0" lang="fr-FR" sz="7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7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0BAAD959-E17C-7E8F-A521-F62037FF96D1}"/>
              </a:ext>
            </a:extLst>
          </p:cNvPr>
          <p:cNvSpPr txBox="1"/>
          <p:nvPr/>
        </p:nvSpPr>
        <p:spPr>
          <a:xfrm>
            <a:off x="2483768" y="356139"/>
            <a:ext cx="3096344" cy="369332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>
                <a:solidFill>
                  <a:srgbClr val="000000"/>
                </a:solidFill>
                <a:latin typeface="Marianne"/>
              </a:rPr>
              <a:t>Conduite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éco-responsable</a:t>
            </a:r>
          </a:p>
        </p:txBody>
      </p:sp>
      <p:graphicFrame>
        <p:nvGraphicFramePr>
          <p:cNvPr id="22" name="Tableau 21">
            <a:extLst>
              <a:ext uri="{FF2B5EF4-FFF2-40B4-BE49-F238E27FC236}">
                <a16:creationId xmlns:a16="http://schemas.microsoft.com/office/drawing/2014/main" id="{820236F8-0D02-94B5-8E4B-610C9F6B8BA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4799157"/>
              </p:ext>
            </p:extLst>
          </p:nvPr>
        </p:nvGraphicFramePr>
        <p:xfrm>
          <a:off x="362197" y="1393714"/>
          <a:ext cx="3775928" cy="2837888"/>
        </p:xfrm>
        <a:graphic>
          <a:graphicData uri="http://schemas.openxmlformats.org/drawingml/2006/table">
            <a:tbl>
              <a:tblPr/>
              <a:tblGrid>
                <a:gridCol w="1887964">
                  <a:extLst>
                    <a:ext uri="{9D8B030D-6E8A-4147-A177-3AD203B41FA5}">
                      <a16:colId xmlns:a16="http://schemas.microsoft.com/office/drawing/2014/main" val="2192679919"/>
                    </a:ext>
                  </a:extLst>
                </a:gridCol>
                <a:gridCol w="1887964">
                  <a:extLst>
                    <a:ext uri="{9D8B030D-6E8A-4147-A177-3AD203B41FA5}">
                      <a16:colId xmlns:a16="http://schemas.microsoft.com/office/drawing/2014/main" val="1123388585"/>
                    </a:ext>
                  </a:extLst>
                </a:gridCol>
              </a:tblGrid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Progression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Nombre Apprenants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5614477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0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311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402269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1 à 20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95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74691913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21 à 50 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59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9615446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51 à 75 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20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972965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76 à 95 %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86</a:t>
                      </a: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235817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100 %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195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5565447"/>
                  </a:ext>
                </a:extLst>
              </a:tr>
              <a:tr h="321667">
                <a:tc>
                  <a:txBody>
                    <a:bodyPr/>
                    <a:lstStyle/>
                    <a:p>
                      <a:pPr algn="l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Total inscrits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dirty="0">
                          <a:effectLst/>
                          <a:latin typeface="Liberation Sans" panose="020B0604020202020204" pitchFamily="34" charset="0"/>
                        </a:rPr>
                        <a:t>766</a:t>
                      </a:r>
                      <a:endParaRPr lang="fr-FR" sz="16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marL="80417" marR="80417" marT="40208" marB="40208"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54240812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364D5B54-88BF-3A5D-1ED0-1EB8D2C81C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52920" y="1228424"/>
            <a:ext cx="4611568" cy="33072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002939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7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D9298-F2A9-4704-9940-A33057864645}" type="slidenum">
              <a:rPr kumimoji="0" lang="fr-FR" sz="7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75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5DE6D2DD-F119-F205-A768-A978C08ED72D}"/>
              </a:ext>
            </a:extLst>
          </p:cNvPr>
          <p:cNvSpPr txBox="1"/>
          <p:nvPr/>
        </p:nvSpPr>
        <p:spPr>
          <a:xfrm>
            <a:off x="2295338" y="303213"/>
            <a:ext cx="4553323" cy="369332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</p:spPr>
        <p:txBody>
          <a:bodyPr wrap="square" rtlCol="0">
            <a:spAutoFit/>
          </a:bodyPr>
          <a:lstStyle>
            <a:defPPr>
              <a:defRPr lang="fr-FR"/>
            </a:defPPr>
            <a:lvl1pPr algn="ctr"/>
          </a:lstStyle>
          <a:p>
            <a:r>
              <a:rPr lang="fr-FR" dirty="0"/>
              <a:t>S’initier à la procédure disciplinaire</a:t>
            </a:r>
          </a:p>
        </p:txBody>
      </p:sp>
      <p:graphicFrame>
        <p:nvGraphicFramePr>
          <p:cNvPr id="20" name="Tableau 19">
            <a:extLst>
              <a:ext uri="{FF2B5EF4-FFF2-40B4-BE49-F238E27FC236}">
                <a16:creationId xmlns:a16="http://schemas.microsoft.com/office/drawing/2014/main" id="{DFBC78A6-BA01-3144-0C90-D774BA2A2F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751878"/>
              </p:ext>
            </p:extLst>
          </p:nvPr>
        </p:nvGraphicFramePr>
        <p:xfrm>
          <a:off x="2846145" y="1091015"/>
          <a:ext cx="4171790" cy="1676400"/>
        </p:xfrm>
        <a:graphic>
          <a:graphicData uri="http://schemas.openxmlformats.org/drawingml/2006/table">
            <a:tbl>
              <a:tblPr/>
              <a:tblGrid>
                <a:gridCol w="1629584">
                  <a:extLst>
                    <a:ext uri="{9D8B030D-6E8A-4147-A177-3AD203B41FA5}">
                      <a16:colId xmlns:a16="http://schemas.microsoft.com/office/drawing/2014/main" val="2434289371"/>
                    </a:ext>
                  </a:extLst>
                </a:gridCol>
                <a:gridCol w="2542206">
                  <a:extLst>
                    <a:ext uri="{9D8B030D-6E8A-4147-A177-3AD203B41FA5}">
                      <a16:colId xmlns:a16="http://schemas.microsoft.com/office/drawing/2014/main" val="108989903"/>
                    </a:ext>
                  </a:extLst>
                </a:gridCol>
              </a:tblGrid>
              <a:tr h="331237"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Liberation Sans" panose="020B0604020202020204" pitchFamily="34" charset="0"/>
                        </a:rPr>
                        <a:t>Progression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dirty="0">
                          <a:effectLst/>
                          <a:latin typeface="Liberation Sans" panose="020B0604020202020204" pitchFamily="34" charset="0"/>
                        </a:rPr>
                        <a:t>Nombre Apprenan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1230577"/>
                  </a:ext>
                </a:extLst>
              </a:tr>
              <a:tr h="331237">
                <a:tc>
                  <a:txBody>
                    <a:bodyPr/>
                    <a:lstStyle/>
                    <a:p>
                      <a:pPr algn="l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0 %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599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0992998"/>
                  </a:ext>
                </a:extLst>
              </a:tr>
              <a:tr h="33123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50 %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200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5762601"/>
                  </a:ext>
                </a:extLst>
              </a:tr>
              <a:tr h="331237">
                <a:tc>
                  <a:txBody>
                    <a:bodyPr/>
                    <a:lstStyle/>
                    <a:p>
                      <a:pPr algn="l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100 %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>
                          <a:effectLst/>
                          <a:latin typeface="Liberation Sans" panose="020B0604020202020204" pitchFamily="34" charset="0"/>
                        </a:rPr>
                        <a:t>231</a:t>
                      </a:r>
                      <a:endParaRPr lang="fr-FR" sz="160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D41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087560"/>
                  </a:ext>
                </a:extLst>
              </a:tr>
              <a:tr h="331237">
                <a:tc>
                  <a:txBody>
                    <a:bodyPr/>
                    <a:lstStyle/>
                    <a:p>
                      <a:pPr algn="l"/>
                      <a:r>
                        <a:rPr lang="fr-FR" sz="1600">
                          <a:effectLst/>
                          <a:latin typeface="Liberation Sans" panose="020B0604020202020204" pitchFamily="34" charset="0"/>
                        </a:rPr>
                        <a:t>Total inscrits</a:t>
                      </a: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dirty="0">
                          <a:effectLst/>
                          <a:latin typeface="Liberation Sans" panose="020B0604020202020204" pitchFamily="34" charset="0"/>
                        </a:rPr>
                        <a:t>1030</a:t>
                      </a:r>
                      <a:endParaRPr lang="fr-FR" sz="1600" dirty="0">
                        <a:effectLst/>
                        <a:latin typeface="Liberation Sans" panose="020B0604020202020204" pitchFamily="34" charset="0"/>
                      </a:endParaRPr>
                    </a:p>
                  </a:txBody>
                  <a:tcPr anchor="ctr">
                    <a:lnL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476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0344835"/>
                  </a:ext>
                </a:extLst>
              </a:tr>
            </a:tbl>
          </a:graphicData>
        </a:graphic>
      </p:graphicFrame>
      <p:pic>
        <p:nvPicPr>
          <p:cNvPr id="4" name="Image 3">
            <a:extLst>
              <a:ext uri="{FF2B5EF4-FFF2-40B4-BE49-F238E27FC236}">
                <a16:creationId xmlns:a16="http://schemas.microsoft.com/office/drawing/2014/main" id="{1FF58276-9669-CECF-40F7-FE5E3CD52E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71450" y="3009481"/>
            <a:ext cx="4721179" cy="17740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632602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4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/>
              <a:t>Les acteurs de notre espace ministériel : chiffres clés au 3/11/2023 </a:t>
            </a:r>
          </a:p>
        </p:txBody>
      </p:sp>
      <p:sp>
        <p:nvSpPr>
          <p:cNvPr id="2" name="Rectangle : coins arrondis 4">
            <a:extLst>
              <a:ext uri="{FF2B5EF4-FFF2-40B4-BE49-F238E27FC236}">
                <a16:creationId xmlns:a16="http://schemas.microsoft.com/office/drawing/2014/main" id="{D12473B3-C1F2-ADCC-AC91-A4B3F6441034}"/>
              </a:ext>
            </a:extLst>
          </p:cNvPr>
          <p:cNvSpPr txBox="1"/>
          <p:nvPr/>
        </p:nvSpPr>
        <p:spPr>
          <a:xfrm>
            <a:off x="967496" y="1059582"/>
            <a:ext cx="8361135" cy="122413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marL="0" lvl="0" indent="0" algn="l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fr-FR" sz="2000" b="1" i="0" kern="1200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967496" y="2600320"/>
            <a:ext cx="2284664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600" b="1" dirty="0"/>
              <a:t>26</a:t>
            </a:r>
            <a:r>
              <a:rPr lang="fr-FR" b="1" dirty="0"/>
              <a:t>	concepteurs</a:t>
            </a:r>
          </a:p>
        </p:txBody>
      </p:sp>
      <p:sp>
        <p:nvSpPr>
          <p:cNvPr id="7" name="Rectangle 6"/>
          <p:cNvSpPr/>
          <p:nvPr/>
        </p:nvSpPr>
        <p:spPr>
          <a:xfrm>
            <a:off x="967496" y="3507853"/>
            <a:ext cx="2137508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600" b="1" dirty="0"/>
              <a:t>68	</a:t>
            </a:r>
            <a:r>
              <a:rPr lang="fr-FR" b="1" dirty="0"/>
              <a:t>formateur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67496" y="1096108"/>
            <a:ext cx="4572000" cy="1283428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600" b="1" dirty="0"/>
              <a:t>3</a:t>
            </a:r>
            <a:r>
              <a:rPr lang="fr-FR" sz="3200" b="1" dirty="0"/>
              <a:t>	</a:t>
            </a:r>
            <a:r>
              <a:rPr lang="fr-FR" b="1" dirty="0"/>
              <a:t>administrateurs FORCQ2 et CMA</a:t>
            </a:r>
          </a:p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3600" b="1" dirty="0"/>
              <a:t>1</a:t>
            </a:r>
            <a:r>
              <a:rPr lang="fr-FR" sz="3200" b="1" dirty="0"/>
              <a:t>	</a:t>
            </a:r>
            <a:r>
              <a:rPr lang="fr-FR" b="1" dirty="0"/>
              <a:t>référent local de formation CM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21123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/>
              <a:t>Présentation de notre espace ministériel : assistance et formation</a:t>
            </a:r>
          </a:p>
        </p:txBody>
      </p:sp>
      <p:grpSp>
        <p:nvGrpSpPr>
          <p:cNvPr id="2" name="Groupe 1">
            <a:extLst>
              <a:ext uri="{FF2B5EF4-FFF2-40B4-BE49-F238E27FC236}">
                <a16:creationId xmlns:a16="http://schemas.microsoft.com/office/drawing/2014/main" id="{7650A141-AB86-A8D7-07D3-A1138EEC5AF7}"/>
              </a:ext>
            </a:extLst>
          </p:cNvPr>
          <p:cNvGrpSpPr/>
          <p:nvPr/>
        </p:nvGrpSpPr>
        <p:grpSpPr>
          <a:xfrm>
            <a:off x="107504" y="699540"/>
            <a:ext cx="8856984" cy="4299986"/>
            <a:chOff x="-146492" y="-75418"/>
            <a:chExt cx="8721812" cy="757177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4" name="Rectangle : coins arrondis 3">
              <a:extLst>
                <a:ext uri="{FF2B5EF4-FFF2-40B4-BE49-F238E27FC236}">
                  <a16:creationId xmlns:a16="http://schemas.microsoft.com/office/drawing/2014/main" id="{BB729C2A-A8F1-5065-ED9B-665FAB50F070}"/>
                </a:ext>
              </a:extLst>
            </p:cNvPr>
            <p:cNvSpPr/>
            <p:nvPr/>
          </p:nvSpPr>
          <p:spPr>
            <a:xfrm>
              <a:off x="-146492" y="-75418"/>
              <a:ext cx="8423275" cy="74810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Rectangle : coins arrondis 4">
              <a:extLst>
                <a:ext uri="{FF2B5EF4-FFF2-40B4-BE49-F238E27FC236}">
                  <a16:creationId xmlns:a16="http://schemas.microsoft.com/office/drawing/2014/main" id="{CCF287C3-9312-04C0-9068-A139EC99BB59}"/>
                </a:ext>
              </a:extLst>
            </p:cNvPr>
            <p:cNvSpPr txBox="1"/>
            <p:nvPr/>
          </p:nvSpPr>
          <p:spPr>
            <a:xfrm>
              <a:off x="214185" y="107419"/>
              <a:ext cx="8361135" cy="574340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2800" b="1" kern="1200" dirty="0">
                  <a:solidFill>
                    <a:schemeClr val="tx1"/>
                  </a:solidFill>
                </a:rPr>
                <a:t>L’assistance</a:t>
              </a:r>
            </a:p>
            <a:p>
              <a:pPr marL="800100" lvl="1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2000" kern="1200" dirty="0">
                  <a:solidFill>
                    <a:schemeClr val="tx1"/>
                  </a:solidFill>
                </a:rPr>
                <a:t>Utilisateurs Mentor									</a:t>
              </a:r>
              <a:r>
                <a:rPr lang="fr-FR" sz="2000" kern="1200" dirty="0">
                  <a:solidFill>
                    <a:schemeClr val="tx1"/>
                  </a:solidFill>
                  <a:hlinkClick r:id="rId4"/>
                </a:rPr>
                <a:t>assistance-connexion-mentor@developpement-durable.gouv.fr</a:t>
              </a:r>
              <a:endParaRPr lang="fr-FR" sz="2000" kern="1200" dirty="0">
                <a:solidFill>
                  <a:schemeClr val="tx1"/>
                </a:solidFill>
              </a:endParaRPr>
            </a:p>
            <a:p>
              <a:pPr marL="800100" lvl="1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2000" kern="1200" dirty="0">
                  <a:solidFill>
                    <a:schemeClr val="tx1"/>
                  </a:solidFill>
                </a:rPr>
                <a:t>Réseau CMVRH, opérateurs de formation		</a:t>
              </a:r>
              <a:r>
                <a:rPr lang="fr-FR" sz="2000" kern="1200" dirty="0">
                  <a:solidFill>
                    <a:schemeClr val="tx1"/>
                  </a:solidFill>
                  <a:hlinkClick r:id="rId5"/>
                </a:rPr>
                <a:t>mentor@developpement-durable.gouv.fr</a:t>
              </a:r>
              <a:endParaRPr lang="fr-FR" sz="2000" kern="1200" dirty="0">
                <a:solidFill>
                  <a:schemeClr val="tx1"/>
                </a:solidFill>
              </a:endParaRPr>
            </a:p>
            <a:p>
              <a:pPr lvl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fr-FR" sz="2800" b="1" dirty="0">
                  <a:solidFill>
                    <a:schemeClr val="tx1"/>
                  </a:solidFill>
                </a:rPr>
                <a:t>La formation au rôle de formateur Mentor</a:t>
              </a:r>
            </a:p>
            <a:p>
              <a:pPr marL="800100" lvl="1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2000" kern="1200" dirty="0">
                  <a:solidFill>
                    <a:schemeClr val="tx1"/>
                  </a:solidFill>
                </a:rPr>
                <a:t>3 sessions réalisées par le CMA</a:t>
              </a:r>
            </a:p>
            <a:p>
              <a:pPr marL="800100" lvl="1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2000" dirty="0">
                  <a:solidFill>
                    <a:schemeClr val="tx1"/>
                  </a:solidFill>
                </a:rPr>
                <a:t>20 participants</a:t>
              </a:r>
            </a:p>
            <a:p>
              <a:pPr marL="1257300" lvl="2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1400" dirty="0">
                  <a:solidFill>
                    <a:schemeClr val="tx1"/>
                  </a:solidFill>
                </a:rPr>
                <a:t>15 chefs de projet formation CMVRH</a:t>
              </a:r>
            </a:p>
            <a:p>
              <a:pPr marL="1257300" lvl="2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1400" dirty="0">
                  <a:solidFill>
                    <a:schemeClr val="tx1"/>
                  </a:solidFill>
                </a:rPr>
                <a:t>3 tuteurs FIO</a:t>
              </a:r>
            </a:p>
            <a:p>
              <a:pPr marL="1257300" lvl="2" indent="-342900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anose="020B0604020202020204" pitchFamily="34" charset="0"/>
                <a:buChar char="•"/>
              </a:pPr>
              <a:r>
                <a:rPr lang="fr-FR" sz="1400" kern="1200" dirty="0">
                  <a:solidFill>
                    <a:schemeClr val="tx1"/>
                  </a:solidFill>
                </a:rPr>
                <a:t>2 DGAC</a:t>
              </a:r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fr-FR" sz="2000" b="1" kern="1200" dirty="0">
                <a:solidFill>
                  <a:schemeClr val="tx1"/>
                </a:solidFill>
              </a:endParaRPr>
            </a:p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fr-FR" sz="2800" b="1" kern="1200" dirty="0">
                <a:solidFill>
                  <a:schemeClr val="tx1"/>
                </a:solidFill>
              </a:endParaRPr>
            </a:p>
            <a:p>
              <a:pPr lvl="1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fr-FR" sz="1600" kern="12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3326510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27F9D26-907A-0178-2781-AE9F816253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9672" y="123478"/>
            <a:ext cx="7272808" cy="720000"/>
          </a:xfrm>
        </p:spPr>
        <p:txBody>
          <a:bodyPr/>
          <a:lstStyle/>
          <a:p>
            <a:r>
              <a:rPr lang="fr-FR" dirty="0"/>
              <a:t>Les chantiers à ouvrir rapidement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841EF2A-F8D6-9575-DCDE-2164E80681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1520" y="843478"/>
            <a:ext cx="8424000" cy="2846362"/>
          </a:xfrm>
        </p:spPr>
        <p:txBody>
          <a:bodyPr/>
          <a:lstStyle/>
          <a:p>
            <a:r>
              <a:rPr lang="fr-FR" sz="2800" dirty="0"/>
              <a:t>L’évaluation</a:t>
            </a:r>
          </a:p>
          <a:p>
            <a:pPr marL="594900" lvl="1" indent="-342900"/>
            <a:r>
              <a:rPr lang="fr-FR" sz="1900" dirty="0"/>
              <a:t>Pour les formations en libre service </a:t>
            </a:r>
          </a:p>
          <a:p>
            <a:pPr marL="594900" lvl="1" indent="-342900"/>
            <a:r>
              <a:rPr lang="fr-FR" sz="1900" dirty="0"/>
              <a:t>Pour les formations sur session et au fil de l’eau</a:t>
            </a:r>
          </a:p>
          <a:p>
            <a:r>
              <a:rPr lang="fr-FR" sz="2800" dirty="0"/>
              <a:t>La maintenance évolutive</a:t>
            </a:r>
          </a:p>
          <a:p>
            <a:pPr marL="594900" lvl="1" indent="-342900"/>
            <a:r>
              <a:rPr lang="fr-FR" sz="1900" dirty="0"/>
              <a:t>A partir des évaluations et/ou des changements sur le fond</a:t>
            </a:r>
          </a:p>
          <a:p>
            <a:pPr marL="594900" lvl="1" indent="-342900"/>
            <a:r>
              <a:rPr lang="fr-FR" sz="1900" dirty="0"/>
              <a:t>Mise en place de revues de formation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C3BB7E0-DFD0-4749-E12C-6FDA33D1B8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85A9F-73CD-40A7-AB56-53EF7F9DC7D9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DF396AF-31B3-4259-5C16-7E6B9F571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B42D9A1-7A7E-B74D-AC1D-B3B63EBF98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6</a:t>
            </a:fld>
            <a:endParaRPr lang="fr-FR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9AFA6DB8-754F-EAAD-7CB8-988D3EDBDED2}"/>
              </a:ext>
            </a:extLst>
          </p:cNvPr>
          <p:cNvSpPr txBox="1"/>
          <p:nvPr/>
        </p:nvSpPr>
        <p:spPr>
          <a:xfrm>
            <a:off x="5364088" y="3384825"/>
            <a:ext cx="3673098" cy="138867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vert="horz" wrap="none" lIns="90000" tIns="45000" rIns="90000" bIns="45000" anchorCtr="0" compatLnSpc="0">
            <a:spAutoFit/>
          </a:bodyPr>
          <a:lstStyle/>
          <a:p>
            <a:pPr hangingPunct="0"/>
            <a:r>
              <a:rPr lang="fr-FR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Avec qui :</a:t>
            </a:r>
          </a:p>
          <a:p>
            <a:pPr hangingPunct="0">
              <a:buSzPct val="45000"/>
              <a:buFont typeface="StarSymbol"/>
              <a:buChar char="●"/>
            </a:pPr>
            <a:r>
              <a:rPr lang="fr-FR" sz="1400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 Les commanditaires</a:t>
            </a:r>
          </a:p>
          <a:p>
            <a:pPr hangingPunct="0">
              <a:buSzPct val="45000"/>
              <a:buFont typeface="StarSymbol"/>
              <a:buChar char="●"/>
            </a:pPr>
            <a:r>
              <a:rPr lang="fr-FR" sz="1400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 FORCQ2 et CGDD</a:t>
            </a:r>
          </a:p>
          <a:p>
            <a:pPr hangingPunct="0">
              <a:buSzPct val="45000"/>
              <a:buFont typeface="StarSymbol"/>
              <a:buChar char="●"/>
            </a:pPr>
            <a:r>
              <a:rPr lang="fr-FR" sz="1400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 Les Directeurs référents du CMVRH</a:t>
            </a:r>
          </a:p>
          <a:p>
            <a:pPr hangingPunct="0">
              <a:buSzPct val="45000"/>
              <a:buFont typeface="StarSymbol"/>
              <a:buChar char="●"/>
            </a:pPr>
            <a:r>
              <a:rPr lang="fr-FR" sz="1400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 Les chefs de file CMVRH</a:t>
            </a:r>
          </a:p>
          <a:p>
            <a:pPr hangingPunct="0">
              <a:buSzPct val="45000"/>
              <a:buFont typeface="StarSymbol"/>
              <a:buChar char="●"/>
            </a:pPr>
            <a:r>
              <a:rPr lang="fr-FR" sz="1400" dirty="0">
                <a:solidFill>
                  <a:prstClr val="black"/>
                </a:solidFill>
                <a:latin typeface="Liberation Sans" pitchFamily="18"/>
                <a:ea typeface="Segoe UI" pitchFamily="2"/>
                <a:cs typeface="Tahoma" pitchFamily="2"/>
              </a:rPr>
              <a:t> Les responsables thématiques du CMVRH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FB2B5CEB-13D9-3391-702A-8023B03CBE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9952" y="699542"/>
            <a:ext cx="1070870" cy="643661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:a16="http://schemas.microsoft.com/office/drawing/2014/main" id="{130C9F57-6522-0F64-AB8F-5ED8295B208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64088" y="645217"/>
            <a:ext cx="1296144" cy="679796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FC104CB8-43D1-84F6-0490-62B0CBE27A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6708" y="725592"/>
            <a:ext cx="1595239" cy="43980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962706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734B3AC-5164-DF74-51B3-5A90142BDA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5656" y="123478"/>
            <a:ext cx="8424000" cy="720000"/>
          </a:xfrm>
        </p:spPr>
        <p:txBody>
          <a:bodyPr/>
          <a:lstStyle/>
          <a:p>
            <a:r>
              <a:rPr lang="fr-FR" dirty="0"/>
              <a:t>Les projets de formation ou de mises à jour …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8B6A1E0-16D8-106F-F8CB-0EE248EF0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DAB042-F384-4C29-8E71-3BE5C213A01A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8245D2DA-9396-4BC5-75A8-81EB4A64A9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8ABBD67-ADDD-8E1C-DCEC-7AE0C995E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7</a:t>
            </a:fld>
            <a:endParaRPr lang="fr-FR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2749E992-E74D-C6EE-69A1-4E0EDC1643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03648" y="445959"/>
            <a:ext cx="6032895" cy="45885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730740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fr-FR" sz="3200" dirty="0"/>
              <a:t>Des questions, des remarques ou des observations ?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37244-DB24-4054-BBF2-56A2B33F25B4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96325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fr-FR" sz="3200" dirty="0"/>
              <a:t>Merci de votre attention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7CCF09-EE87-48D1-84C1-264D2069BBC4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31148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31640" y="194164"/>
            <a:ext cx="7812360" cy="720000"/>
          </a:xfrm>
        </p:spPr>
        <p:txBody>
          <a:bodyPr/>
          <a:lstStyle/>
          <a:p>
            <a:r>
              <a:rPr lang="fr-FR" sz="2000" dirty="0"/>
              <a:t>Mentor : un programme interministériel de formation qui vise à repenser la manière d’appréhender la formation des agents publics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60000" y="4810190"/>
            <a:ext cx="5904000" cy="360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10" name="Rectangle à coins arrondis 9"/>
          <p:cNvSpPr/>
          <p:nvPr/>
        </p:nvSpPr>
        <p:spPr>
          <a:xfrm>
            <a:off x="577402" y="1183334"/>
            <a:ext cx="2160240" cy="3509336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dirty="0"/>
              <a:t>Une plateforme de formation en ligne pour </a:t>
            </a:r>
            <a:r>
              <a:rPr lang="fr-FR" sz="1050" i="1" dirty="0"/>
              <a:t>les ministères, les directions interministérielles, les écoles de service public, </a:t>
            </a:r>
          </a:p>
          <a:p>
            <a:r>
              <a:rPr lang="fr-FR" sz="1050" i="1" dirty="0"/>
              <a:t>les plateformes régionales d’appui interministérielles à la GRH , les opérateurs publics de formation</a:t>
            </a:r>
          </a:p>
          <a:p>
            <a:endParaRPr lang="fr-FR" sz="1050" i="1" dirty="0"/>
          </a:p>
          <a:p>
            <a:endParaRPr lang="fr-FR" sz="1050" i="1" dirty="0"/>
          </a:p>
          <a:p>
            <a:endParaRPr lang="fr-FR" sz="1050" i="1" dirty="0"/>
          </a:p>
          <a:p>
            <a:endParaRPr lang="fr-FR" sz="1050" i="1" dirty="0"/>
          </a:p>
          <a:p>
            <a:endParaRPr lang="fr-FR" sz="1050" i="1" dirty="0"/>
          </a:p>
          <a:p>
            <a:endParaRPr lang="fr-FR" sz="1050" i="1" dirty="0"/>
          </a:p>
          <a:p>
            <a:endParaRPr lang="fr-FR" sz="1050" i="1" dirty="0"/>
          </a:p>
        </p:txBody>
      </p:sp>
      <p:sp>
        <p:nvSpPr>
          <p:cNvPr id="11" name="Rectangle à coins arrondis 10"/>
          <p:cNvSpPr/>
          <p:nvPr/>
        </p:nvSpPr>
        <p:spPr>
          <a:xfrm>
            <a:off x="5135643" y="1213019"/>
            <a:ext cx="2088232" cy="3509336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dirty="0"/>
              <a:t>La structuration et la </a:t>
            </a:r>
            <a:r>
              <a:rPr lang="fr-FR" sz="1400" dirty="0" err="1"/>
              <a:t>co</a:t>
            </a:r>
            <a:r>
              <a:rPr lang="fr-FR" sz="1400" dirty="0"/>
              <a:t>-construction d’une offre de formation élargie</a:t>
            </a:r>
          </a:p>
        </p:txBody>
      </p:sp>
      <p:sp>
        <p:nvSpPr>
          <p:cNvPr id="12" name="Bulle ronde 11"/>
          <p:cNvSpPr/>
          <p:nvPr/>
        </p:nvSpPr>
        <p:spPr>
          <a:xfrm>
            <a:off x="6588224" y="914164"/>
            <a:ext cx="1836016" cy="1152128"/>
          </a:xfrm>
          <a:prstGeom prst="wedgeEllipseCallout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/>
              <a:t>Communauté permettant de répartir l’effort de production et de partager les compétences</a:t>
            </a:r>
          </a:p>
        </p:txBody>
      </p:sp>
      <p:sp>
        <p:nvSpPr>
          <p:cNvPr id="16" name="Flèche droite 15"/>
          <p:cNvSpPr/>
          <p:nvPr/>
        </p:nvSpPr>
        <p:spPr>
          <a:xfrm>
            <a:off x="2987825" y="2598014"/>
            <a:ext cx="1800200" cy="549800"/>
          </a:xfrm>
          <a:prstGeom prst="rightArrow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Pentagone 2"/>
          <p:cNvSpPr/>
          <p:nvPr/>
        </p:nvSpPr>
        <p:spPr>
          <a:xfrm>
            <a:off x="527131" y="3451372"/>
            <a:ext cx="1919374" cy="992586"/>
          </a:xfrm>
          <a:prstGeom prst="homePlate">
            <a:avLst/>
          </a:prstGeom>
          <a:solidFill>
            <a:schemeClr val="accent1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200" b="1" dirty="0">
                <a:solidFill>
                  <a:schemeClr val="tx1"/>
                </a:solidFill>
              </a:rPr>
              <a:t>Le Pôle Ministériel partenaire Mentor depuis août 2022 dispose de son propre espa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3760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6" grpId="0" animBg="1"/>
      <p:bldP spid="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403648" y="194164"/>
            <a:ext cx="7740352" cy="720000"/>
          </a:xfrm>
        </p:spPr>
        <p:txBody>
          <a:bodyPr/>
          <a:lstStyle/>
          <a:p>
            <a:r>
              <a:rPr lang="fr-FR" sz="2000" dirty="0"/>
              <a:t>Mentor, un programme interministériel pour diversifier la formation des agents publics de l’Etat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164288" y="4783500"/>
            <a:ext cx="1350000" cy="360000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D9298-F2A9-4704-9940-A33057864645}" type="slidenum">
              <a:rPr kumimoji="0" lang="fr-FR" sz="7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r>
              <a:rPr kumimoji="0" lang="fr-FR" sz="7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                </a:t>
            </a:r>
            <a:fld id="{38649DF0-8E1A-420F-959F-3FFBF3BE878F}" type="datetime1">
              <a:rPr kumimoji="0" lang="fr-FR" sz="75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/11/2023</a:t>
            </a:fld>
            <a:endParaRPr kumimoji="0" lang="fr-FR" sz="7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3131840" y="1051072"/>
            <a:ext cx="2880320" cy="632525"/>
          </a:xfrm>
          <a:prstGeom prst="roundRect">
            <a:avLst/>
          </a:prstGeom>
          <a:solidFill>
            <a:schemeClr val="tx2">
              <a:lumMod val="5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Une plateforme de formation en ligne pour un large accès</a:t>
            </a:r>
            <a:endParaRPr kumimoji="0" lang="fr-FR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05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1" name="Rectangle à coins arrondis 10"/>
          <p:cNvSpPr/>
          <p:nvPr/>
        </p:nvSpPr>
        <p:spPr>
          <a:xfrm>
            <a:off x="279491" y="1892603"/>
            <a:ext cx="3600400" cy="1066946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Un espace </a:t>
            </a:r>
            <a:r>
              <a:rPr kumimoji="0" lang="fr-FR" sz="1200" b="0" i="0" u="sng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interministériel</a:t>
            </a: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 disposant d’une offre de formation élargie, organisée en collections thématiques</a:t>
            </a:r>
          </a:p>
        </p:txBody>
      </p:sp>
      <p:sp>
        <p:nvSpPr>
          <p:cNvPr id="16" name="Flèche droite 15"/>
          <p:cNvSpPr/>
          <p:nvPr/>
        </p:nvSpPr>
        <p:spPr>
          <a:xfrm rot="2310077">
            <a:off x="4340253" y="1756135"/>
            <a:ext cx="444469" cy="360040"/>
          </a:xfrm>
          <a:prstGeom prst="rightArrow">
            <a:avLst>
              <a:gd name="adj1" fmla="val 42585"/>
              <a:gd name="adj2" fmla="val 50000"/>
            </a:avLst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4" name="Rectangle à coins arrondis 3"/>
          <p:cNvSpPr/>
          <p:nvPr/>
        </p:nvSpPr>
        <p:spPr>
          <a:xfrm>
            <a:off x="4682293" y="3612137"/>
            <a:ext cx="4358005" cy="899934"/>
          </a:xfrm>
          <a:prstGeom prst="roundRect">
            <a:avLst/>
          </a:prstGeom>
          <a:solidFill>
            <a:schemeClr val="accent1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Un</a:t>
            </a:r>
            <a:r>
              <a:rPr kumimoji="0" lang="fr-FR" sz="120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 rôle d’administrateur de notre espace</a:t>
            </a:r>
            <a:endParaRPr kumimoji="0" lang="fr-FR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Une stratégie éditoriale à défini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Marianne"/>
              </a:rPr>
              <a:t>Des principes de fonctionnement souples à arrêter collectivement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2" name="Rectangle à coins arrondis 11"/>
          <p:cNvSpPr/>
          <p:nvPr/>
        </p:nvSpPr>
        <p:spPr>
          <a:xfrm>
            <a:off x="4846408" y="1868616"/>
            <a:ext cx="4193890" cy="1090933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arianne"/>
                <a:ea typeface="+mn-ea"/>
                <a:cs typeface="+mn-cs"/>
              </a:rPr>
              <a:t>Le MTECT/MTE a intégré Mentor depuis août 2022 et dispose de son propre espace pour déposer des formations au profit exclusif des agents du pôle ministériel et de ses partenaires </a:t>
            </a:r>
          </a:p>
        </p:txBody>
      </p:sp>
      <p:sp>
        <p:nvSpPr>
          <p:cNvPr id="13" name="Flèche droite 12"/>
          <p:cNvSpPr/>
          <p:nvPr/>
        </p:nvSpPr>
        <p:spPr>
          <a:xfrm rot="8753443">
            <a:off x="3853729" y="1724661"/>
            <a:ext cx="444469" cy="360040"/>
          </a:xfrm>
          <a:prstGeom prst="rightArrow">
            <a:avLst>
              <a:gd name="adj1" fmla="val 42585"/>
              <a:gd name="adj2" fmla="val 50000"/>
            </a:avLst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7" name="Flèche droite 6"/>
          <p:cNvSpPr/>
          <p:nvPr/>
        </p:nvSpPr>
        <p:spPr>
          <a:xfrm rot="16200000">
            <a:off x="2051720" y="3115320"/>
            <a:ext cx="288032" cy="248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14" name="Rectangle à coins arrondis 13"/>
          <p:cNvSpPr/>
          <p:nvPr/>
        </p:nvSpPr>
        <p:spPr>
          <a:xfrm>
            <a:off x="279491" y="3602807"/>
            <a:ext cx="4212000" cy="899934"/>
          </a:xfrm>
          <a:prstGeom prst="roundRect">
            <a:avLst/>
          </a:prstGeom>
          <a:solidFill>
            <a:schemeClr val="accent1">
              <a:lumMod val="25000"/>
              <a:lumOff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fr-FR" sz="1200" b="1" dirty="0">
                <a:solidFill>
                  <a:srgbClr val="000000"/>
                </a:solidFill>
              </a:rPr>
              <a:t>Un rôle de chef de file de la collection TED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Marianne"/>
              </a:rPr>
              <a:t>Nécessité de respecter la stratégie éditoria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sz="1200" dirty="0">
                <a:solidFill>
                  <a:srgbClr val="000000"/>
                </a:solidFill>
                <a:latin typeface="Marianne"/>
              </a:rPr>
              <a:t>Une bibliothèque de formations qui permet d’adapter des formations à notre contexte </a:t>
            </a: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arianne"/>
            </a:endParaRPr>
          </a:p>
        </p:txBody>
      </p:sp>
      <p:sp>
        <p:nvSpPr>
          <p:cNvPr id="15" name="Flèche droite 14"/>
          <p:cNvSpPr/>
          <p:nvPr/>
        </p:nvSpPr>
        <p:spPr>
          <a:xfrm rot="16200000">
            <a:off x="6593022" y="3161585"/>
            <a:ext cx="288032" cy="2485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arianne"/>
              <a:ea typeface="+mn-ea"/>
              <a:cs typeface="+mn-cs"/>
            </a:endParaRP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982772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5</a:t>
            </a:fld>
            <a:endParaRPr lang="fr-FR"/>
          </a:p>
        </p:txBody>
      </p:sp>
      <p:sp>
        <p:nvSpPr>
          <p:cNvPr id="3" name="Rectangle 2"/>
          <p:cNvSpPr/>
          <p:nvPr/>
        </p:nvSpPr>
        <p:spPr>
          <a:xfrm>
            <a:off x="1331640" y="195486"/>
            <a:ext cx="7632848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550" b="1" dirty="0">
                <a:latin typeface="+mj-lt"/>
                <a:ea typeface="+mj-ea"/>
                <a:cs typeface="+mj-cs"/>
              </a:rPr>
              <a:t>Présentation de notre espace ministériel au 31 octobre 2023</a:t>
            </a:r>
          </a:p>
        </p:txBody>
      </p:sp>
      <p:sp>
        <p:nvSpPr>
          <p:cNvPr id="9" name="Rectangle : coins arrondis 8">
            <a:extLst>
              <a:ext uri="{FF2B5EF4-FFF2-40B4-BE49-F238E27FC236}">
                <a16:creationId xmlns:a16="http://schemas.microsoft.com/office/drawing/2014/main" id="{C81EED24-D2C1-991E-74AD-BDA421A9E3AB}"/>
              </a:ext>
            </a:extLst>
          </p:cNvPr>
          <p:cNvSpPr/>
          <p:nvPr/>
        </p:nvSpPr>
        <p:spPr>
          <a:xfrm>
            <a:off x="290267" y="1288212"/>
            <a:ext cx="8423275" cy="1224136"/>
          </a:xfrm>
          <a:prstGeom prst="roundRect">
            <a:avLst/>
          </a:prstGeom>
          <a:solidFill>
            <a:schemeClr val="accent1">
              <a:lumMod val="50000"/>
              <a:lumOff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r>
              <a:rPr lang="fr-FR" b="1" dirty="0">
                <a:solidFill>
                  <a:schemeClr val="tx1"/>
                </a:solidFill>
              </a:rPr>
              <a:t>12116 </a:t>
            </a:r>
            <a:r>
              <a:rPr lang="fr-FR" dirty="0">
                <a:solidFill>
                  <a:schemeClr val="tx1"/>
                </a:solidFill>
              </a:rPr>
              <a:t>agents inscrits avec une entité principale de rattachement MTECT</a:t>
            </a:r>
          </a:p>
          <a:p>
            <a:r>
              <a:rPr lang="fr-FR" b="1" dirty="0">
                <a:solidFill>
                  <a:schemeClr val="tx1"/>
                </a:solidFill>
              </a:rPr>
              <a:t>1158 </a:t>
            </a:r>
            <a:r>
              <a:rPr lang="fr-FR" dirty="0">
                <a:solidFill>
                  <a:schemeClr val="tx1"/>
                </a:solidFill>
              </a:rPr>
              <a:t>agents inscrits avec une entité de rattachement secondaire MTECT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093C2D73-4A0B-A48E-DE7F-0D85AA84E741}"/>
              </a:ext>
            </a:extLst>
          </p:cNvPr>
          <p:cNvGrpSpPr/>
          <p:nvPr/>
        </p:nvGrpSpPr>
        <p:grpSpPr>
          <a:xfrm>
            <a:off x="290267" y="3161283"/>
            <a:ext cx="8423275" cy="966311"/>
            <a:chOff x="-22073" y="360702"/>
            <a:chExt cx="8423275" cy="636480"/>
          </a:xfrm>
        </p:grpSpPr>
        <p:sp>
          <p:nvSpPr>
            <p:cNvPr id="12" name="Rectangle : coins arrondis 11">
              <a:extLst>
                <a:ext uri="{FF2B5EF4-FFF2-40B4-BE49-F238E27FC236}">
                  <a16:creationId xmlns:a16="http://schemas.microsoft.com/office/drawing/2014/main" id="{A08D15FF-8418-9A0C-F8A9-B59477313A82}"/>
                </a:ext>
              </a:extLst>
            </p:cNvPr>
            <p:cNvSpPr/>
            <p:nvPr/>
          </p:nvSpPr>
          <p:spPr>
            <a:xfrm>
              <a:off x="-22073" y="360702"/>
              <a:ext cx="8423275" cy="636480"/>
            </a:xfrm>
            <a:prstGeom prst="round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accent1">
                  <a:lumMod val="10000"/>
                  <a:lumOff val="90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Rectangle : coins arrondis 4">
              <a:extLst>
                <a:ext uri="{FF2B5EF4-FFF2-40B4-BE49-F238E27FC236}">
                  <a16:creationId xmlns:a16="http://schemas.microsoft.com/office/drawing/2014/main" id="{D216E12F-F654-19B3-035A-0E85D65420E3}"/>
                </a:ext>
              </a:extLst>
            </p:cNvPr>
            <p:cNvSpPr txBox="1"/>
            <p:nvPr/>
          </p:nvSpPr>
          <p:spPr>
            <a:xfrm>
              <a:off x="40067" y="409269"/>
              <a:ext cx="8361135" cy="574340"/>
            </a:xfrm>
            <a:prstGeom prst="rect">
              <a:avLst/>
            </a:prstGeom>
            <a:solidFill>
              <a:schemeClr val="accent1">
                <a:lumMod val="75000"/>
                <a:lumOff val="25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60960" rIns="60960" bIns="60960" numCol="1" spcCol="1270" anchor="ctr" anchorCtr="0">
              <a:noAutofit/>
            </a:bodyPr>
            <a:lstStyle/>
            <a:p>
              <a:pPr marL="0" lvl="0" indent="0" algn="l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fr-FR" sz="2000" kern="1200" dirty="0">
                  <a:solidFill>
                    <a:schemeClr val="tx1"/>
                  </a:solidFill>
                </a:rPr>
                <a:t>18 opérateurs ont signé une convention pour un accès à Mentor avec le </a:t>
              </a:r>
              <a:r>
                <a:rPr lang="fr-FR" sz="2000" kern="1200">
                  <a:solidFill>
                    <a:schemeClr val="tx1"/>
                  </a:solidFill>
                </a:rPr>
                <a:t>Pôle Ministériel</a:t>
              </a:r>
              <a:endParaRPr lang="fr-FR" sz="2000" kern="12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694620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Espace réservé du contenu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06784797"/>
              </p:ext>
            </p:extLst>
          </p:nvPr>
        </p:nvGraphicFramePr>
        <p:xfrm>
          <a:off x="360363" y="1059582"/>
          <a:ext cx="8423275" cy="33504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6" name="Titre 1"/>
          <p:cNvSpPr>
            <a:spLocks noGrp="1"/>
          </p:cNvSpPr>
          <p:nvPr>
            <p:ph type="title"/>
          </p:nvPr>
        </p:nvSpPr>
        <p:spPr>
          <a:xfrm>
            <a:off x="1403648" y="195486"/>
            <a:ext cx="7524006" cy="720000"/>
          </a:xfrm>
        </p:spPr>
        <p:txBody>
          <a:bodyPr/>
          <a:lstStyle/>
          <a:p>
            <a:r>
              <a:rPr lang="fr-FR" dirty="0"/>
              <a:t>Mentor : un espace ministériel – une communauté ministérielle à faire viv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95219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à coins arrondis 9"/>
          <p:cNvSpPr/>
          <p:nvPr/>
        </p:nvSpPr>
        <p:spPr>
          <a:xfrm>
            <a:off x="5682297" y="1491630"/>
            <a:ext cx="3305787" cy="13327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Rectangle à coins arrondis 14"/>
          <p:cNvSpPr/>
          <p:nvPr/>
        </p:nvSpPr>
        <p:spPr>
          <a:xfrm>
            <a:off x="5682296" y="3308334"/>
            <a:ext cx="3305787" cy="127964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3" name="Rectangle à coins arrondis 12"/>
          <p:cNvSpPr/>
          <p:nvPr/>
        </p:nvSpPr>
        <p:spPr>
          <a:xfrm>
            <a:off x="402117" y="3164457"/>
            <a:ext cx="3305787" cy="127964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" name="Rectangle à coins arrondis 7"/>
          <p:cNvSpPr/>
          <p:nvPr/>
        </p:nvSpPr>
        <p:spPr>
          <a:xfrm>
            <a:off x="402117" y="1491630"/>
            <a:ext cx="3305787" cy="13327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56171" y="223889"/>
            <a:ext cx="7631912" cy="720000"/>
          </a:xfrm>
        </p:spPr>
        <p:txBody>
          <a:bodyPr/>
          <a:lstStyle/>
          <a:p>
            <a:r>
              <a:rPr lang="fr-FR" dirty="0"/>
              <a:t>Des principes de fonctionnement définis collectivement pour saisir les opportunités offertes par Mentor</a:t>
            </a:r>
          </a:p>
        </p:txBody>
      </p:sp>
      <p:graphicFrame>
        <p:nvGraphicFramePr>
          <p:cNvPr id="6" name="Espace réservé du contenu 5"/>
          <p:cNvGraphicFramePr>
            <a:graphicFrameLocks noGrp="1"/>
          </p:cNvGraphicFramePr>
          <p:nvPr>
            <p:ph idx="1"/>
          </p:nvPr>
        </p:nvGraphicFramePr>
        <p:xfrm>
          <a:off x="360363" y="1347614"/>
          <a:ext cx="8453528" cy="3240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BFF0A5-4176-4E93-977D-E08B3C2ECD77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402116" y="1632006"/>
            <a:ext cx="316177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/>
              <a:t>Entre membres de l’espace ministériel lorsque nécessaire (des conventions de partenariats avec plusieurs établissements publics qui s’engagent à contribuer à nos travaux éditoriaux ont été signées)</a:t>
            </a:r>
          </a:p>
        </p:txBody>
      </p:sp>
      <p:sp>
        <p:nvSpPr>
          <p:cNvPr id="12" name="ZoneTexte 11"/>
          <p:cNvSpPr txBox="1"/>
          <p:nvPr/>
        </p:nvSpPr>
        <p:spPr>
          <a:xfrm>
            <a:off x="5904147" y="1691089"/>
            <a:ext cx="290974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100" dirty="0"/>
              <a:t>Des</a:t>
            </a:r>
            <a:r>
              <a:rPr lang="fr-FR" sz="1100" b="1" dirty="0"/>
              <a:t> </a:t>
            </a:r>
            <a:r>
              <a:rPr lang="fr-FR" sz="1100" dirty="0"/>
              <a:t>ressources existantes produites par les autres ministères et/ou opérateurs afin de les capitaliser (ex fondamentaux </a:t>
            </a:r>
            <a:r>
              <a:rPr lang="fr-FR" sz="1100" dirty="0" err="1"/>
              <a:t>budgétaro</a:t>
            </a:r>
            <a:r>
              <a:rPr lang="fr-FR" sz="1100" dirty="0"/>
              <a:t>-comptables, management, transformation des organisations…)</a:t>
            </a:r>
          </a:p>
        </p:txBody>
      </p:sp>
      <p:sp>
        <p:nvSpPr>
          <p:cNvPr id="14" name="ZoneTexte 13"/>
          <p:cNvSpPr txBox="1"/>
          <p:nvPr/>
        </p:nvSpPr>
        <p:spPr>
          <a:xfrm>
            <a:off x="5783604" y="3428295"/>
            <a:ext cx="3072042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100" dirty="0"/>
              <a:t>Accompagner la constitution d’équipes projets regroupant toutes les compétences requises dès le démarrage du projet (un guide et une équipe pour vous accompagner dans ces démarches)</a:t>
            </a:r>
          </a:p>
        </p:txBody>
      </p:sp>
      <p:sp>
        <p:nvSpPr>
          <p:cNvPr id="16" name="ZoneTexte 15"/>
          <p:cNvSpPr txBox="1"/>
          <p:nvPr/>
        </p:nvSpPr>
        <p:spPr>
          <a:xfrm>
            <a:off x="539552" y="3428295"/>
            <a:ext cx="280831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1100" dirty="0"/>
              <a:t>En matière de compétences et de publics à cibler (penser la construction de parcours de formation par ex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595348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Enjeux et bonnes pratiques de notre communauté</a:t>
            </a:r>
          </a:p>
        </p:txBody>
      </p:sp>
      <p:graphicFrame>
        <p:nvGraphicFramePr>
          <p:cNvPr id="9" name="Espace réservé du contenu 8"/>
          <p:cNvGraphicFramePr>
            <a:graphicFrameLocks noGrp="1"/>
          </p:cNvGraphicFramePr>
          <p:nvPr>
            <p:ph idx="1"/>
          </p:nvPr>
        </p:nvGraphicFramePr>
        <p:xfrm>
          <a:off x="360363" y="1836738"/>
          <a:ext cx="8423275" cy="25733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946D35-864E-477D-BBF5-CC271021FB9B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SG/DRH/D/FORCQ/FORCQ2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8</a:t>
            </a:fld>
            <a:endParaRPr lang="fr-FR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21193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fr-FR" sz="3200" dirty="0"/>
              <a:t>Des questions, des remarques ou des observations ?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E37244-DB24-4054-BBF2-56A2B33F25B4}" type="datetime1">
              <a:rPr lang="fr-FR" smtClean="0"/>
              <a:t>09/11/2023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2D9298-F2A9-4704-9940-A33057864645}" type="slidenum">
              <a:rPr lang="fr-FR" smtClean="0"/>
              <a:pPr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09028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QGLOHQdUuKTn48MP9N5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MINISTÈRIEL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GOUVERNEMENT PPT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A4_RBSC_PPT">
  <a:themeElements>
    <a:clrScheme name="AAAA">
      <a:dk1>
        <a:srgbClr val="000000"/>
      </a:dk1>
      <a:lt1>
        <a:srgbClr val="FFFFFF"/>
      </a:lt1>
      <a:dk2>
        <a:srgbClr val="1D4896"/>
      </a:dk2>
      <a:lt2>
        <a:srgbClr val="808080"/>
      </a:lt2>
      <a:accent1>
        <a:srgbClr val="D6D6D0"/>
      </a:accent1>
      <a:accent2>
        <a:srgbClr val="E32624"/>
      </a:accent2>
      <a:accent3>
        <a:srgbClr val="808080"/>
      </a:accent3>
      <a:accent4>
        <a:srgbClr val="000000"/>
      </a:accent4>
      <a:accent5>
        <a:srgbClr val="E8E8E4"/>
      </a:accent5>
      <a:accent6>
        <a:srgbClr val="CE2120"/>
      </a:accent6>
      <a:hlink>
        <a:srgbClr val="00B1E6"/>
      </a:hlink>
      <a:folHlink>
        <a:srgbClr val="FABB0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3"/>
          </a:solidFill>
        </a:ln>
        <a:effectLst/>
      </a:spPr>
      <a:bodyPr lIns="72000" tIns="72000" rIns="72000" bIns="108000" rtlCol="0" anchor="t" anchorCtr="0">
        <a:noAutofit/>
      </a:bodyPr>
      <a:lstStyle>
        <a:defPPr algn="l">
          <a:lnSpc>
            <a:spcPct val="90000"/>
          </a:lnSpc>
          <a:spcBef>
            <a:spcPts val="400"/>
          </a:spcBef>
          <a:defRPr sz="1500" b="0" dirty="0" smtClean="0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accent3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vert="horz" wrap="square" lIns="0" tIns="0" rIns="0" bIns="0" rtlCol="0">
        <a:spAutoFit/>
      </a:bodyPr>
      <a:lstStyle>
        <a:defPPr>
          <a:lnSpc>
            <a:spcPct val="90000"/>
          </a:lnSpc>
          <a:spcBef>
            <a:spcPts val="400"/>
          </a:spcBef>
          <a:buClr>
            <a:srgbClr val="000000"/>
          </a:buClr>
          <a:buSzPct val="100000"/>
          <a:defRPr sz="1500" b="0" noProof="0" dirty="0" smtClean="0">
            <a:latin typeface="+mn-lt"/>
            <a:cs typeface="Arial Narrow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isteriel_marianne</Template>
  <TotalTime>6380</TotalTime>
  <Words>1692</Words>
  <Application>Microsoft Office PowerPoint</Application>
  <PresentationFormat>Affichage à l'écran (16:9)</PresentationFormat>
  <Paragraphs>310</Paragraphs>
  <Slides>29</Slides>
  <Notes>15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38" baseType="lpstr">
      <vt:lpstr>Arial</vt:lpstr>
      <vt:lpstr>Arial Narrow</vt:lpstr>
      <vt:lpstr>Liberation Sans</vt:lpstr>
      <vt:lpstr>Marianne</vt:lpstr>
      <vt:lpstr>StarSymbol</vt:lpstr>
      <vt:lpstr>Wingdings</vt:lpstr>
      <vt:lpstr>MINISTÈRIEL</vt:lpstr>
      <vt:lpstr>1_A4_RBSC_PPT</vt:lpstr>
      <vt:lpstr>think-cell Slide</vt:lpstr>
      <vt:lpstr>Présentation PowerPoint</vt:lpstr>
      <vt:lpstr>Présentation PowerPoint</vt:lpstr>
      <vt:lpstr>Mentor : un programme interministériel de formation qui vise à repenser la manière d’appréhender la formation des agents publics</vt:lpstr>
      <vt:lpstr>Mentor, un programme interministériel pour diversifier la formation des agents publics de l’Etat</vt:lpstr>
      <vt:lpstr>Présentation PowerPoint</vt:lpstr>
      <vt:lpstr>Mentor : un espace ministériel – une communauté ministérielle à faire vivre</vt:lpstr>
      <vt:lpstr>Des principes de fonctionnement définis collectivement pour saisir les opportunités offertes par Mentor</vt:lpstr>
      <vt:lpstr>Enjeux et bonnes pratiques de notre communauté</vt:lpstr>
      <vt:lpstr>Présentation PowerPoint</vt:lpstr>
      <vt:lpstr>Deux outils d’accompagnement construits avec les membres de la communauté ministérielle</vt:lpstr>
      <vt:lpstr>Une stratégie d’accompagnement des acteurs MENTOR (informer, impliquer, former) : les grands axes</vt:lpstr>
      <vt:lpstr>Une attention particulière portée  aux chefs de projet formation</vt:lpstr>
      <vt:lpstr>Présentation PowerPoint</vt:lpstr>
      <vt:lpstr>Les formations sur notre espace ministérie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chantiers à ouvrir rapidement</vt:lpstr>
      <vt:lpstr>Les projets de formation ou de mises à jour …</vt:lpstr>
      <vt:lpstr>Présentation PowerPoint</vt:lpstr>
      <vt:lpstr>Présentation PowerPoint</vt:lpstr>
    </vt:vector>
  </TitlesOfParts>
  <Manager>Client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FONDEVILLE Coralie</dc:creator>
  <cp:lastModifiedBy>SUROY Antoine</cp:lastModifiedBy>
  <cp:revision>360</cp:revision>
  <cp:lastPrinted>2022-02-14T09:54:29Z</cp:lastPrinted>
  <dcterms:created xsi:type="dcterms:W3CDTF">2020-02-27T14:35:46Z</dcterms:created>
  <dcterms:modified xsi:type="dcterms:W3CDTF">2023-11-09T13:24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5D411D3F-D4B7-46E2-ADF7-BFC25262539A</vt:lpwstr>
  </property>
  <property fmtid="{D5CDD505-2E9C-101B-9397-08002B2CF9AE}" pid="3" name="ArticulatePath">
    <vt:lpwstr>2023_11_9_eformation(1)</vt:lpwstr>
  </property>
</Properties>
</file>